
<file path=[Content_Types].xml><?xml version="1.0" encoding="utf-8"?>
<Types xmlns="http://schemas.openxmlformats.org/package/2006/content-types">
  <Default Extension="xml" ContentType="application/xml"/>
  <Default Extension="svg" ContentType="image/svg+xml"/>
  <Default Extension="jpeg" ContentType="image/jpeg"/>
  <Default Extension="rels" ContentType="application/vnd.openxmlformats-package.relationships+xml"/>
  <Default Extension="emf" ContentType="image/x-emf"/>
  <Default Extension="xlsx" ContentType="application/vnd.openxmlformats-officedocument.spreadsheetml.sheet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8" r:id="rId2"/>
  </p:sldMasterIdLst>
  <p:notesMasterIdLst>
    <p:notesMasterId r:id="rId13"/>
  </p:notesMasterIdLst>
  <p:sldIdLst>
    <p:sldId id="908" r:id="rId3"/>
    <p:sldId id="909" r:id="rId4"/>
    <p:sldId id="911" r:id="rId5"/>
    <p:sldId id="912" r:id="rId6"/>
    <p:sldId id="755" r:id="rId7"/>
    <p:sldId id="936" r:id="rId8"/>
    <p:sldId id="940" r:id="rId9"/>
    <p:sldId id="919" r:id="rId10"/>
    <p:sldId id="922" r:id="rId11"/>
    <p:sldId id="935" r:id="rId12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лександра Хан" initials="АХ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3C3A0"/>
    <a:srgbClr val="60A772"/>
    <a:srgbClr val="CEE4D4"/>
    <a:srgbClr val="413D3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254" autoAdjust="0"/>
    <p:restoredTop sz="94660"/>
  </p:normalViewPr>
  <p:slideViewPr>
    <p:cSldViewPr snapToGrid="0">
      <p:cViewPr varScale="1">
        <p:scale>
          <a:sx n="68" d="100"/>
          <a:sy n="68" d="100"/>
        </p:scale>
        <p:origin x="240" y="11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slide" Target="slides/slide9.xml"/><Relationship Id="rId12" Type="http://schemas.openxmlformats.org/officeDocument/2006/relationships/slide" Target="slides/slide10.xml"/><Relationship Id="rId13" Type="http://schemas.openxmlformats.org/officeDocument/2006/relationships/notesMaster" Target="notesMasters/notesMaster1.xml"/><Relationship Id="rId14" Type="http://schemas.openxmlformats.org/officeDocument/2006/relationships/commentAuthors" Target="commentAuthors.xml"/><Relationship Id="rId15" Type="http://schemas.openxmlformats.org/officeDocument/2006/relationships/presProps" Target="presProps.xml"/><Relationship Id="rId16" Type="http://schemas.openxmlformats.org/officeDocument/2006/relationships/viewProps" Target="viewProps.xml"/><Relationship Id="rId17" Type="http://schemas.openxmlformats.org/officeDocument/2006/relationships/theme" Target="theme/theme1.xml"/><Relationship Id="rId18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Relationship Id="rId9" Type="http://schemas.openxmlformats.org/officeDocument/2006/relationships/slide" Target="slides/slide7.xml"/><Relationship Id="rId10" Type="http://schemas.openxmlformats.org/officeDocument/2006/relationships/slide" Target="slides/slide8.xml"/></Relationships>
</file>

<file path=ppt/charts/_rels/chart1.xml.rels><?xml version="1.0" encoding="UTF-8" standalone="yes"?>
<Relationships xmlns="http://schemas.openxmlformats.org/package/2006/relationships"><Relationship Id="rId1" Type="http://schemas.microsoft.com/office/2011/relationships/chartStyle" Target="style1.xml"/><Relationship Id="rId2" Type="http://schemas.microsoft.com/office/2011/relationships/chartColorStyle" Target="colors1.xml"/><Relationship Id="rId3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microsoft.com/office/2011/relationships/chartStyle" Target="style2.xml"/><Relationship Id="rId2" Type="http://schemas.microsoft.com/office/2011/relationships/chartColorStyle" Target="colors2.xml"/><Relationship Id="rId3" Type="http://schemas.openxmlformats.org/officeDocument/2006/relationships/package" Target="../embeddings/_____Microsoft_Excel2.xlsx"/></Relationships>
</file>

<file path=ppt/charts/_rels/chart3.xml.rels><?xml version="1.0" encoding="UTF-8" standalone="yes"?>
<Relationships xmlns="http://schemas.openxmlformats.org/package/2006/relationships"><Relationship Id="rId1" Type="http://schemas.microsoft.com/office/2011/relationships/chartStyle" Target="style3.xml"/><Relationship Id="rId2" Type="http://schemas.microsoft.com/office/2011/relationships/chartColorStyle" Target="colors3.xml"/><Relationship Id="rId3" Type="http://schemas.openxmlformats.org/officeDocument/2006/relationships/package" Target="../embeddings/_____Microsoft_Excel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170991955299741"/>
          <c:y val="0.655643373539729"/>
          <c:w val="0.965801608940052"/>
          <c:h val="0.265142905968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satMod val="103000"/>
                    <a:lumMod val="102000"/>
                    <a:tint val="94000"/>
                  </a:schemeClr>
                </a:gs>
                <a:gs pos="50000">
                  <a:schemeClr val="accent6">
                    <a:satMod val="110000"/>
                    <a:lumMod val="100000"/>
                    <a:shade val="100000"/>
                  </a:schemeClr>
                </a:gs>
                <a:gs pos="100000">
                  <a:schemeClr val="accent6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 w="6350" cap="flat" cmpd="sng" algn="ctr">
              <a:solidFill>
                <a:schemeClr val="accent6"/>
              </a:solidFill>
              <a:prstDash val="solid"/>
              <a:miter lim="800000"/>
            </a:ln>
            <a:effectLst/>
          </c:spPr>
          <c:invertIfNegative val="0"/>
          <c:dLbls>
            <c:dLbl>
              <c:idx val="1"/>
              <c:layout>
                <c:manualLayout>
                  <c:x val="0.00496934073282506"/>
                  <c:y val="0.064252070485027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EB0F-4EDE-ABDE-EBD82352EFDA}"/>
                </c:ext>
                <c:ext xmlns:c15="http://schemas.microsoft.com/office/drawing/2012/chart" uri="{CE6537A1-D6FC-4f65-9D91-7224C49458BB}">
                  <c15:layout>
                    <c:manualLayout>
                      <c:w val="0.292147541682791"/>
                      <c:h val="0.475740687605566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rgbClr val="3C3837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C$1:$D$1</c:f>
              <c:strCache>
                <c:ptCount val="2"/>
                <c:pt idx="0">
                  <c:v>Ряд 2</c:v>
                </c:pt>
                <c:pt idx="1">
                  <c:v>Ряд 3</c:v>
                </c:pt>
              </c:strCache>
            </c:strRef>
          </c:cat>
          <c:val>
            <c:numRef>
              <c:f>Лист1!$C$2:$D$2</c:f>
              <c:numCache>
                <c:formatCode>#,##0</c:formatCode>
                <c:ptCount val="2"/>
                <c:pt idx="0">
                  <c:v>3178.0</c:v>
                </c:pt>
                <c:pt idx="1">
                  <c:v>3526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EAB8-4FC4-B408-813BDA280D8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-1755340768"/>
        <c:axId val="-1756359136"/>
      </c:barChart>
      <c:catAx>
        <c:axId val="-175534076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-1756359136"/>
        <c:crosses val="autoZero"/>
        <c:auto val="1"/>
        <c:lblAlgn val="ctr"/>
        <c:lblOffset val="100"/>
        <c:noMultiLvlLbl val="0"/>
      </c:catAx>
      <c:valAx>
        <c:axId val="-1756359136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-1755340768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4820572705845"/>
          <c:y val="0.0758254098358673"/>
          <c:w val="0.773402118300852"/>
          <c:h val="0.861616105671034"/>
        </c:manualLayout>
      </c:layout>
      <c:doughnutChart>
        <c:varyColors val="1"/>
        <c:ser>
          <c:idx val="0"/>
          <c:order val="0"/>
          <c:tx>
            <c:strRef>
              <c:f>Лист1!$A$2</c:f>
              <c:strCache>
                <c:ptCount val="1"/>
                <c:pt idx="0">
                  <c:v>Кв. 1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rgbClr val="93C3A0"/>
                  </a:gs>
                  <a:gs pos="100000">
                    <a:srgbClr val="60A772"/>
                  </a:gs>
                </a:gsLst>
                <a:lin ang="5400000" scaled="0"/>
              </a:gradFill>
              <a:ln w="6350" cap="flat" cmpd="sng" algn="ctr">
                <a:solidFill>
                  <a:srgbClr val="93C3A0"/>
                </a:solidFill>
                <a:prstDash val="solid"/>
                <a:miter lim="8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CDF9-4B34-9878-E76EAC73695D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5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5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5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 w="6350" cap="flat" cmpd="sng" algn="ctr">
                <a:solidFill>
                  <a:schemeClr val="accent5"/>
                </a:solidFill>
                <a:prstDash val="solid"/>
                <a:miter lim="8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CDF9-4B34-9878-E76EAC73695D}"/>
              </c:ext>
            </c:extLst>
          </c:dPt>
          <c:dPt>
            <c:idx val="2"/>
            <c:bubble3D val="0"/>
            <c:spPr>
              <a:gradFill rotWithShape="1">
                <a:gsLst>
                  <a:gs pos="0">
                    <a:schemeClr val="accent4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4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4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 w="6350" cap="flat" cmpd="sng" algn="ctr">
                <a:solidFill>
                  <a:schemeClr val="accent4"/>
                </a:solidFill>
                <a:prstDash val="solid"/>
                <a:miter lim="8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CDF9-4B34-9878-E76EAC73695D}"/>
              </c:ext>
            </c:extLst>
          </c:dPt>
          <c:cat>
            <c:strRef>
              <c:f>Лист1!$B$1:$D$1</c:f>
              <c:strCache>
                <c:ptCount val="3"/>
                <c:pt idx="0">
                  <c:v>Столбец1</c:v>
                </c:pt>
                <c:pt idx="1">
                  <c:v>Столбец2</c:v>
                </c:pt>
                <c:pt idx="2">
                  <c:v>Столбец3</c:v>
                </c:pt>
              </c:strCache>
            </c:strRef>
          </c:cat>
          <c:val>
            <c:numRef>
              <c:f>Лист1!$B$2:$D$2</c:f>
              <c:numCache>
                <c:formatCode>General</c:formatCode>
                <c:ptCount val="3"/>
                <c:pt idx="0">
                  <c:v>2539.0</c:v>
                </c:pt>
                <c:pt idx="1">
                  <c:v>557.0</c:v>
                </c:pt>
                <c:pt idx="2">
                  <c:v>82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CDF9-4B34-9878-E76EAC7369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82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4820572705845"/>
          <c:y val="0.0758254098358673"/>
          <c:w val="0.773402118300852"/>
          <c:h val="0.861616105671034"/>
        </c:manualLayout>
      </c:layout>
      <c:doughnutChart>
        <c:varyColors val="1"/>
        <c:ser>
          <c:idx val="0"/>
          <c:order val="0"/>
          <c:tx>
            <c:strRef>
              <c:f>Лист1!$A$2</c:f>
              <c:strCache>
                <c:ptCount val="1"/>
                <c:pt idx="0">
                  <c:v>Кв. 1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rgbClr val="93C3A0"/>
                  </a:gs>
                  <a:gs pos="100000">
                    <a:srgbClr val="60A772"/>
                  </a:gs>
                </a:gsLst>
                <a:lin ang="5400000" scaled="0"/>
              </a:gradFill>
              <a:ln w="6350" cap="flat" cmpd="sng" algn="ctr">
                <a:solidFill>
                  <a:srgbClr val="93C3A0"/>
                </a:solidFill>
                <a:prstDash val="solid"/>
                <a:miter lim="8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CDF9-4B34-9878-E76EAC73695D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5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5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5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 w="6350" cap="flat" cmpd="sng" algn="ctr">
                <a:solidFill>
                  <a:schemeClr val="accent5"/>
                </a:solidFill>
                <a:prstDash val="solid"/>
                <a:miter lim="8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D1DF-45C5-8FB3-5B5B307EEA29}"/>
              </c:ext>
            </c:extLst>
          </c:dPt>
          <c:dPt>
            <c:idx val="2"/>
            <c:bubble3D val="0"/>
            <c:spPr>
              <a:gradFill rotWithShape="1">
                <a:gsLst>
                  <a:gs pos="0">
                    <a:schemeClr val="accent4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4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4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 w="6350" cap="flat" cmpd="sng" algn="ctr">
                <a:solidFill>
                  <a:schemeClr val="accent4"/>
                </a:solidFill>
                <a:prstDash val="solid"/>
                <a:miter lim="8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D1DF-45C5-8FB3-5B5B307EEA29}"/>
              </c:ext>
            </c:extLst>
          </c:dPt>
          <c:cat>
            <c:strRef>
              <c:f>Лист1!$B$1:$D$1</c:f>
              <c:strCache>
                <c:ptCount val="3"/>
                <c:pt idx="0">
                  <c:v>Столбец1</c:v>
                </c:pt>
                <c:pt idx="1">
                  <c:v>Столбец2</c:v>
                </c:pt>
                <c:pt idx="2">
                  <c:v>Столбец3</c:v>
                </c:pt>
              </c:strCache>
            </c:strRef>
          </c:cat>
          <c:val>
            <c:numRef>
              <c:f>Лист1!$B$2:$D$2</c:f>
              <c:numCache>
                <c:formatCode>General</c:formatCode>
                <c:ptCount val="3"/>
                <c:pt idx="0">
                  <c:v>2804.0</c:v>
                </c:pt>
                <c:pt idx="1">
                  <c:v>630.0</c:v>
                </c:pt>
                <c:pt idx="2">
                  <c:v>92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CDF9-4B34-9878-E76EAC7369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82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4169678-ECA5-4AAA-9562-D7788788B4B0}" type="datetimeFigureOut">
              <a:rPr lang="ru-RU" smtClean="0"/>
              <a:t>25.11.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9BC9E7B-AEAF-4B2A-94CA-7CC73FC2928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422083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EE2788-D7B2-43C4-9A21-842ABDAFC4D2}" type="slidenum">
              <a:rPr lang="ru-RU" smtClean="0"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888807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EE2788-D7B2-43C4-9A21-842ABDAFC4D2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655744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2B8752-55B0-4C35-89E0-052CFBA2BA93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4980707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240A9E-08E2-48A4-B529-4C58C66583DD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8291385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240A9E-08E2-48A4-B529-4C58C66583D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654686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240A9E-08E2-48A4-B529-4C58C66583D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79878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240A9E-08E2-48A4-B529-4C58C66583DD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8825783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EE2788-D7B2-43C4-9A21-842ABDAFC4D2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457081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svg"/><Relationship Id="rId8" Type="http://schemas.openxmlformats.org/officeDocument/2006/relationships/image" Target="../media/image3.png"/><Relationship Id="rId9" Type="http://schemas.openxmlformats.org/officeDocument/2006/relationships/image" Target="../media/image5.svg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1.emf"/><Relationship Id="rId6" Type="http://schemas.openxmlformats.org/officeDocument/2006/relationships/image" Target="../media/image4.png"/><Relationship Id="rId7" Type="http://schemas.openxmlformats.org/officeDocument/2006/relationships/image" Target="../media/image3.svg"/><Relationship Id="rId8" Type="http://schemas.openxmlformats.org/officeDocument/2006/relationships/image" Target="../media/image5.png"/><Relationship Id="rId9" Type="http://schemas.openxmlformats.org/officeDocument/2006/relationships/image" Target="../media/image5.svg"/><Relationship Id="rId1" Type="http://schemas.openxmlformats.org/officeDocument/2006/relationships/vmlDrawing" Target="../drawings/vmlDrawing6.vml"/><Relationship Id="rId2" Type="http://schemas.openxmlformats.org/officeDocument/2006/relationships/tags" Target="../tags/tag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3.vml"/><Relationship Id="rId2" Type="http://schemas.openxmlformats.org/officeDocument/2006/relationships/tags" Target="../tags/tag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1.emf"/><Relationship Id="rId6" Type="http://schemas.openxmlformats.org/officeDocument/2006/relationships/image" Target="../media/image4.png"/><Relationship Id="rId7" Type="http://schemas.openxmlformats.org/officeDocument/2006/relationships/image" Target="../media/image3.svg"/><Relationship Id="rId8" Type="http://schemas.openxmlformats.org/officeDocument/2006/relationships/image" Target="../media/image5.png"/><Relationship Id="rId9" Type="http://schemas.openxmlformats.org/officeDocument/2006/relationships/image" Target="../media/image5.svg"/><Relationship Id="rId1" Type="http://schemas.openxmlformats.org/officeDocument/2006/relationships/vmlDrawing" Target="../drawings/vmlDrawing4.vml"/><Relationship Id="rId2" Type="http://schemas.openxmlformats.org/officeDocument/2006/relationships/tags" Target="../tags/tag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1.emf"/><Relationship Id="rId6" Type="http://schemas.openxmlformats.org/officeDocument/2006/relationships/image" Target="../media/image4.png"/><Relationship Id="rId7" Type="http://schemas.openxmlformats.org/officeDocument/2006/relationships/image" Target="../media/image3.svg"/><Relationship Id="rId8" Type="http://schemas.openxmlformats.org/officeDocument/2006/relationships/image" Target="../media/image5.png"/><Relationship Id="rId9" Type="http://schemas.openxmlformats.org/officeDocument/2006/relationships/image" Target="../media/image5.svg"/><Relationship Id="rId1" Type="http://schemas.openxmlformats.org/officeDocument/2006/relationships/vmlDrawing" Target="../drawings/vmlDrawing5.vml"/><Relationship Id="rId2" Type="http://schemas.openxmlformats.org/officeDocument/2006/relationships/tags" Target="../tags/tag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4" Type="http://schemas.openxmlformats.org/officeDocument/2006/relationships/image" Target="../media/image7.png"/><Relationship Id="rId5" Type="http://schemas.openxmlformats.org/officeDocument/2006/relationships/image" Target="../media/image11.svg"/><Relationship Id="rId6" Type="http://schemas.openxmlformats.org/officeDocument/2006/relationships/image" Target="../media/image4.png"/><Relationship Id="rId7" Type="http://schemas.openxmlformats.org/officeDocument/2006/relationships/image" Target="../media/image3.svg"/><Relationship Id="rId8" Type="http://schemas.openxmlformats.org/officeDocument/2006/relationships/image" Target="../media/image8.png"/><Relationship Id="rId9" Type="http://schemas.openxmlformats.org/officeDocument/2006/relationships/image" Target="../media/image13.svg"/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6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4" Type="http://schemas.openxmlformats.org/officeDocument/2006/relationships/image" Target="../media/image5.png"/><Relationship Id="rId5" Type="http://schemas.openxmlformats.org/officeDocument/2006/relationships/image" Target="../media/image5.svg"/><Relationship Id="rId6" Type="http://schemas.openxmlformats.org/officeDocument/2006/relationships/image" Target="../media/image9.png"/><Relationship Id="rId7" Type="http://schemas.openxmlformats.org/officeDocument/2006/relationships/image" Target="../media/image15.svg"/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4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4" Type="http://schemas.openxmlformats.org/officeDocument/2006/relationships/image" Target="../media/image6.png"/><Relationship Id="rId5" Type="http://schemas.openxmlformats.org/officeDocument/2006/relationships/image" Target="../media/image9.svg"/><Relationship Id="rId6" Type="http://schemas.openxmlformats.org/officeDocument/2006/relationships/image" Target="../media/image10.png"/><Relationship Id="rId7" Type="http://schemas.openxmlformats.org/officeDocument/2006/relationships/image" Target="../media/image17.svg"/><Relationship Id="rId8" Type="http://schemas.openxmlformats.org/officeDocument/2006/relationships/image" Target="../media/image11.png"/><Relationship Id="rId9" Type="http://schemas.openxmlformats.org/officeDocument/2006/relationships/image" Target="../media/image19.svg"/><Relationship Id="rId10" Type="http://schemas.openxmlformats.org/officeDocument/2006/relationships/image" Target="../media/image4.png"/><Relationship Id="rId11" Type="http://schemas.openxmlformats.org/officeDocument/2006/relationships/image" Target="../media/image3.svg"/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8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>
            <a:extLst>
              <a:ext uri="{FF2B5EF4-FFF2-40B4-BE49-F238E27FC236}">
                <a16:creationId xmlns="" xmlns:a16="http://schemas.microsoft.com/office/drawing/2014/main" id="{E4DF6200-8591-4E10-A535-4F0161AE564E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rgbClr val="FBF6EF"/>
              </a:gs>
            </a:gsLst>
            <a:lin ang="5400000" scaled="0"/>
          </a:gra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9" name="Объект 8" hidden="1">
            <a:extLst>
              <a:ext uri="{FF2B5EF4-FFF2-40B4-BE49-F238E27FC236}">
                <a16:creationId xmlns="" xmlns:a16="http://schemas.microsoft.com/office/drawing/2014/main" id="{1B60F097-D3E5-4A3E-AA31-E4BAEC1530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="" xmlns:a16="http://schemas.microsoft.com/office/drawing/2014/main" id="{1B60F097-D3E5-4A3E-AA31-E4BAEC1530A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BC9B5C81-5183-457D-9F4E-493A227F87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58720" y="195058"/>
            <a:ext cx="8895080" cy="815027"/>
          </a:xfrm>
        </p:spPr>
        <p:txBody>
          <a:bodyPr/>
          <a:lstStyle>
            <a:lvl1pPr>
              <a:defRPr sz="3200">
                <a:solidFill>
                  <a:srgbClr val="624E33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D4F6A1C5-C855-4497-8C76-1BC4C65266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6760" y="1287779"/>
            <a:ext cx="10591800" cy="49278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800" b="1">
                <a:solidFill>
                  <a:srgbClr val="3C3837"/>
                </a:solidFill>
              </a:defRPr>
            </a:lvl1pPr>
            <a:lvl2pPr marL="0" indent="0">
              <a:buNone/>
              <a:defRPr sz="1800">
                <a:solidFill>
                  <a:srgbClr val="3C3837"/>
                </a:solidFill>
              </a:defRPr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E868B984-B8BC-457F-A473-7434AAEC082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632819" y="6356350"/>
            <a:ext cx="91948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7D0AF7BE-5590-4491-9ACA-4153DC872FD2}" type="datetime1">
              <a:rPr lang="ru-RU" smtClean="0"/>
              <a:pPr/>
              <a:t>25.11.20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6E43AF95-7510-45C3-A7FA-6F8C203257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6DC82234-478A-4650-94EC-BDEC660A1E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F89439AD-A166-441A-9978-3BDD957F123B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EBFD4BC2-D38D-4056-80AF-0E04701B0A4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20039" y="230188"/>
            <a:ext cx="1751829" cy="592927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="" xmlns:a16="http://schemas.microsoft.com/office/drawing/2014/main" id="{5AD75797-3F77-43A5-8941-400D40F31FA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243944" y="261663"/>
            <a:ext cx="673736" cy="725562"/>
          </a:xfrm>
          <a:prstGeom prst="rect">
            <a:avLst/>
          </a:prstGeom>
        </p:spPr>
      </p:pic>
      <p:sp>
        <p:nvSpPr>
          <p:cNvPr id="14" name="Дата 3">
            <a:extLst>
              <a:ext uri="{FF2B5EF4-FFF2-40B4-BE49-F238E27FC236}">
                <a16:creationId xmlns="" xmlns:a16="http://schemas.microsoft.com/office/drawing/2014/main" id="{79072A1D-639A-410C-BA6F-388CD7D3869D}"/>
              </a:ext>
            </a:extLst>
          </p:cNvPr>
          <p:cNvSpPr txBox="1">
            <a:spLocks/>
          </p:cNvSpPr>
          <p:nvPr userDrawn="1"/>
        </p:nvSpPr>
        <p:spPr>
          <a:xfrm>
            <a:off x="767715" y="6356350"/>
            <a:ext cx="2768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1" latinLnBrk="0" hangingPunct="1">
              <a:defRPr sz="1200" kern="1200">
                <a:solidFill>
                  <a:srgbClr val="C2A17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>
                <a:solidFill>
                  <a:schemeClr val="accent1"/>
                </a:solidFill>
              </a:rPr>
              <a:t>президентскиегранты.рф</a:t>
            </a:r>
          </a:p>
        </p:txBody>
      </p:sp>
      <p:cxnSp>
        <p:nvCxnSpPr>
          <p:cNvPr id="16" name="Прямая соединительная линия 15">
            <a:extLst>
              <a:ext uri="{FF2B5EF4-FFF2-40B4-BE49-F238E27FC236}">
                <a16:creationId xmlns="" xmlns:a16="http://schemas.microsoft.com/office/drawing/2014/main" id="{F1DBB79B-8344-4FDF-9DCC-86B92E85CB42}"/>
              </a:ext>
            </a:extLst>
          </p:cNvPr>
          <p:cNvCxnSpPr>
            <a:cxnSpLocks/>
          </p:cNvCxnSpPr>
          <p:nvPr userDrawn="1"/>
        </p:nvCxnSpPr>
        <p:spPr>
          <a:xfrm flipH="1">
            <a:off x="2595561" y="6488585"/>
            <a:ext cx="38894" cy="124146"/>
          </a:xfrm>
          <a:prstGeom prst="line">
            <a:avLst/>
          </a:prstGeom>
          <a:ln w="6350" cap="rnd"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>
            <a:extLst>
              <a:ext uri="{FF2B5EF4-FFF2-40B4-BE49-F238E27FC236}">
                <a16:creationId xmlns="" xmlns:a16="http://schemas.microsoft.com/office/drawing/2014/main" id="{C9BC9E81-0C4D-445F-B730-7C63892684E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457785" y="6488585"/>
            <a:ext cx="38894" cy="124146"/>
          </a:xfrm>
          <a:prstGeom prst="line">
            <a:avLst/>
          </a:prstGeom>
          <a:ln w="6350" cap="rnd"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897390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78356635-26B9-49D9-9A6A-EC10F17731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79E73DF4-2588-401E-BC48-BA1E39B9378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="" xmlns:a16="http://schemas.microsoft.com/office/drawing/2014/main" id="{B25CEC3D-15F8-4E85-B644-AD1CFE101ED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2E02690A-B364-4DCD-B0ED-CDC41E789E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23.05.2018</a:t>
            </a: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36AFE99B-9235-4447-8513-E6CA594E4E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8209817E-26F2-4574-ACFD-16E3928B72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9439AD-A166-441A-9978-3BDD957F123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107784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3AF63E06-1674-404F-8F72-C155E4BE2E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C69838C1-61D5-411F-B39E-A525D77E37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="" xmlns:a16="http://schemas.microsoft.com/office/drawing/2014/main" id="{818EFD6B-7437-4B56-9CBB-4E844AFD7F5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="" xmlns:a16="http://schemas.microsoft.com/office/drawing/2014/main" id="{0F9FEC83-8951-46C5-83D1-6AEB2D07D97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="" xmlns:a16="http://schemas.microsoft.com/office/drawing/2014/main" id="{01347824-695E-4236-B297-6A07BDAEB6F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="" xmlns:a16="http://schemas.microsoft.com/office/drawing/2014/main" id="{E5DD618B-E6E7-46BB-8E23-EC74AA5C21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23.05.2018</a:t>
            </a:r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="" xmlns:a16="http://schemas.microsoft.com/office/drawing/2014/main" id="{2D1C8998-4FB9-4C0B-839A-FFB16191CD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="" xmlns:a16="http://schemas.microsoft.com/office/drawing/2014/main" id="{26C8DD91-3BB8-4322-B819-E81FC2698D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9439AD-A166-441A-9978-3BDD957F123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234100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274AB261-ECFB-4D2F-8371-CB5C2DB1BF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="" xmlns:a16="http://schemas.microsoft.com/office/drawing/2014/main" id="{8816C4AA-C715-4E06-AF99-2BA0DD7D3F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23.05.2018</a:t>
            </a:r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="" xmlns:a16="http://schemas.microsoft.com/office/drawing/2014/main" id="{28964D4D-C66C-48D1-BFC8-9CC3C3C7C4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B49A009F-932B-416F-832A-C77B99960B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9439AD-A166-441A-9978-3BDD957F123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497673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="" xmlns:a16="http://schemas.microsoft.com/office/drawing/2014/main" id="{A956AEFE-8B07-4C33-A499-51CCFA2423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23.05.2018</a:t>
            </a: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="" xmlns:a16="http://schemas.microsoft.com/office/drawing/2014/main" id="{ECF59D3A-F536-4FD0-9EF6-865F5F5240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A64A663B-D285-4744-9775-A7EA5ADB64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9439AD-A166-441A-9978-3BDD957F123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1806345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1EE97B3D-FA1E-46EF-BD9F-56239301C0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1465B733-1EC7-4698-B8B7-F0D7591615F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E4A15AA2-C5D3-4B82-9D43-EDA7837856C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3DA3E2AA-EFBF-48A0-83AA-0A998E3108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23.05.2018</a:t>
            </a: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B76CB2D5-6C42-4B01-873B-27A8464ABE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9ADCFBB3-76D8-4668-B691-02639E6DB0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9439AD-A166-441A-9978-3BDD957F123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366729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D5C1D904-D5E6-4B3C-A384-6B291FBC26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="" xmlns:a16="http://schemas.microsoft.com/office/drawing/2014/main" id="{4A55D4A5-8829-4A61-8D31-A93236E6C83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57255AD1-6C4B-4369-9CEF-B1C4D093010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5CEF121C-6D1C-4526-8EBF-D57EB6AF01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23.05.2018</a:t>
            </a: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683A0093-4648-49DF-A0F4-895657FBFF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ED284054-0605-4659-ADFD-D3C08C1395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9439AD-A166-441A-9978-3BDD957F123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1479245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DC16169B-6F32-4DBF-9D47-65E207C8F5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="" xmlns:a16="http://schemas.microsoft.com/office/drawing/2014/main" id="{B4B7F4A8-437B-422D-8EAC-FF638738459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-800100" y="3382797"/>
            <a:ext cx="10591800" cy="492789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F93404C6-5D84-4532-A677-0134179095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23.05.2018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60C72FDF-ADAB-4565-AE47-F1514BFB7B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26DEBF6B-69B1-4B7E-A751-7CDBA5171D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9439AD-A166-441A-9978-3BDD957F123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449219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="" xmlns:a16="http://schemas.microsoft.com/office/drawing/2014/main" id="{D6DA79F9-3165-4AE2-BB7C-ADD69A1E1A4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="" xmlns:a16="http://schemas.microsoft.com/office/drawing/2014/main" id="{9F1A6A27-0161-4A3C-8583-6DCFC72FA9E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67C177B6-5940-4C95-ABD9-3C7A9EB9E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23.05.2018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EABE8764-C1EE-4CEF-AFAB-9D8A06402B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1F101DB2-765B-4A5B-B904-55A02CD1E1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9439AD-A166-441A-9978-3BDD957F123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1593676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>
            <a:extLst>
              <a:ext uri="{FF2B5EF4-FFF2-40B4-BE49-F238E27FC236}">
                <a16:creationId xmlns="" xmlns:a16="http://schemas.microsoft.com/office/drawing/2014/main" id="{E4DF6200-8591-4E10-A535-4F0161AE564E}"/>
              </a:ext>
            </a:extLst>
          </p:cNvPr>
          <p:cNvSpPr/>
          <p:nvPr userDrawn="1"/>
        </p:nvSpPr>
        <p:spPr>
          <a:xfrm>
            <a:off x="0" y="-1"/>
            <a:ext cx="12192000" cy="6857999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rgbClr val="FBF6EF"/>
              </a:gs>
            </a:gsLst>
            <a:lin ang="5400000" scaled="0"/>
          </a:gra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9" name="Объект 8" hidden="1">
            <a:extLst>
              <a:ext uri="{FF2B5EF4-FFF2-40B4-BE49-F238E27FC236}">
                <a16:creationId xmlns="" xmlns:a16="http://schemas.microsoft.com/office/drawing/2014/main" id="{1B60F097-D3E5-4A3E-AA31-E4BAEC1530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="" xmlns:a16="http://schemas.microsoft.com/office/drawing/2014/main" id="{1B60F097-D3E5-4A3E-AA31-E4BAEC1530A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BC9B5C81-5183-457D-9F4E-493A227F87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58720" y="195058"/>
            <a:ext cx="8895080" cy="815027"/>
          </a:xfrm>
        </p:spPr>
        <p:txBody>
          <a:bodyPr/>
          <a:lstStyle>
            <a:lvl1pPr>
              <a:defRPr sz="3000">
                <a:solidFill>
                  <a:srgbClr val="624E33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E868B984-B8BC-457F-A473-7434AAEC082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632819" y="6356350"/>
            <a:ext cx="91948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7D0AF7BE-5590-4491-9ACA-4153DC872FD2}" type="datetime1">
              <a:rPr lang="ru-RU" smtClean="0"/>
              <a:pPr/>
              <a:t>25.11.20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6E43AF95-7510-45C3-A7FA-6F8C203257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6DC82234-478A-4650-94EC-BDEC660A1E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F89439AD-A166-441A-9978-3BDD957F123B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EBFD4BC2-D38D-4056-80AF-0E04701B0A4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20039" y="230188"/>
            <a:ext cx="1751829" cy="592927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="" xmlns:a16="http://schemas.microsoft.com/office/drawing/2014/main" id="{5AD75797-3F77-43A5-8941-400D40F31FA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243944" y="261663"/>
            <a:ext cx="673736" cy="725562"/>
          </a:xfrm>
          <a:prstGeom prst="rect">
            <a:avLst/>
          </a:prstGeom>
        </p:spPr>
      </p:pic>
      <p:sp>
        <p:nvSpPr>
          <p:cNvPr id="14" name="Дата 3">
            <a:extLst>
              <a:ext uri="{FF2B5EF4-FFF2-40B4-BE49-F238E27FC236}">
                <a16:creationId xmlns="" xmlns:a16="http://schemas.microsoft.com/office/drawing/2014/main" id="{79072A1D-639A-410C-BA6F-388CD7D3869D}"/>
              </a:ext>
            </a:extLst>
          </p:cNvPr>
          <p:cNvSpPr txBox="1">
            <a:spLocks/>
          </p:cNvSpPr>
          <p:nvPr userDrawn="1"/>
        </p:nvSpPr>
        <p:spPr>
          <a:xfrm>
            <a:off x="767715" y="6356350"/>
            <a:ext cx="2768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1" latinLnBrk="0" hangingPunct="1">
              <a:defRPr sz="1200" kern="1200">
                <a:solidFill>
                  <a:srgbClr val="C2A17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>
                <a:solidFill>
                  <a:schemeClr val="accent1"/>
                </a:solidFill>
              </a:rPr>
              <a:t>президентскиегранты.рф</a:t>
            </a:r>
          </a:p>
        </p:txBody>
      </p:sp>
      <p:cxnSp>
        <p:nvCxnSpPr>
          <p:cNvPr id="16" name="Прямая соединительная линия 15">
            <a:extLst>
              <a:ext uri="{FF2B5EF4-FFF2-40B4-BE49-F238E27FC236}">
                <a16:creationId xmlns="" xmlns:a16="http://schemas.microsoft.com/office/drawing/2014/main" id="{F1DBB79B-8344-4FDF-9DCC-86B92E85CB42}"/>
              </a:ext>
            </a:extLst>
          </p:cNvPr>
          <p:cNvCxnSpPr>
            <a:cxnSpLocks/>
          </p:cNvCxnSpPr>
          <p:nvPr userDrawn="1"/>
        </p:nvCxnSpPr>
        <p:spPr>
          <a:xfrm flipH="1">
            <a:off x="2595561" y="6488585"/>
            <a:ext cx="38894" cy="124146"/>
          </a:xfrm>
          <a:prstGeom prst="line">
            <a:avLst/>
          </a:prstGeom>
          <a:ln w="6350" cap="rnd"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>
            <a:extLst>
              <a:ext uri="{FF2B5EF4-FFF2-40B4-BE49-F238E27FC236}">
                <a16:creationId xmlns="" xmlns:a16="http://schemas.microsoft.com/office/drawing/2014/main" id="{C9BC9E81-0C4D-445F-B730-7C63892684E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457785" y="6488585"/>
            <a:ext cx="38894" cy="124146"/>
          </a:xfrm>
          <a:prstGeom prst="line">
            <a:avLst/>
          </a:prstGeom>
          <a:ln w="6350" cap="rnd"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72367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274AB261-ECFB-4D2F-8371-CB5C2DB1BF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="" xmlns:a16="http://schemas.microsoft.com/office/drawing/2014/main" id="{8816C4AA-C715-4E06-AF99-2BA0DD7D3F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F8FA9F-0420-4E18-8947-2DAB2F8E070D}" type="datetime1">
              <a:rPr lang="ru-RU" smtClean="0"/>
              <a:pPr/>
              <a:t>25.11.20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="" xmlns:a16="http://schemas.microsoft.com/office/drawing/2014/main" id="{28964D4D-C66C-48D1-BFC8-9CC3C3C7C4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B49A009F-932B-416F-832A-C77B99960B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9439AD-A166-441A-9978-3BDD957F123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856242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BE02F3F5-4467-48AA-BFD2-E186C0573E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="" xmlns:a16="http://schemas.microsoft.com/office/drawing/2014/main" id="{BE02F3F5-4467-48AA-BFD2-E186C0573EC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Дата 1">
            <a:extLst>
              <a:ext uri="{FF2B5EF4-FFF2-40B4-BE49-F238E27FC236}">
                <a16:creationId xmlns="" xmlns:a16="http://schemas.microsoft.com/office/drawing/2014/main" id="{A956AEFE-8B07-4C33-A499-51CCFA2423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CAB8A4-E19E-4B08-B96B-BFCEB1ABF3C7}" type="datetime1">
              <a:rPr lang="ru-RU" smtClean="0"/>
              <a:pPr/>
              <a:t>25.11.20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="" xmlns:a16="http://schemas.microsoft.com/office/drawing/2014/main" id="{ECF59D3A-F536-4FD0-9EF6-865F5F5240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A64A663B-D285-4744-9775-A7EA5ADB64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9439AD-A166-441A-9978-3BDD957F123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088527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>
            <a:extLst>
              <a:ext uri="{FF2B5EF4-FFF2-40B4-BE49-F238E27FC236}">
                <a16:creationId xmlns="" xmlns:a16="http://schemas.microsoft.com/office/drawing/2014/main" id="{E4DF6200-8591-4E10-A535-4F0161AE564E}"/>
              </a:ext>
            </a:extLst>
          </p:cNvPr>
          <p:cNvSpPr/>
          <p:nvPr userDrawn="1"/>
        </p:nvSpPr>
        <p:spPr>
          <a:xfrm>
            <a:off x="0" y="-1"/>
            <a:ext cx="12192000" cy="6857999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rgbClr val="FBF6EF"/>
              </a:gs>
            </a:gsLst>
            <a:lin ang="5400000" scaled="0"/>
          </a:gra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9" name="Объект 8" hidden="1">
            <a:extLst>
              <a:ext uri="{FF2B5EF4-FFF2-40B4-BE49-F238E27FC236}">
                <a16:creationId xmlns="" xmlns:a16="http://schemas.microsoft.com/office/drawing/2014/main" id="{1B60F097-D3E5-4A3E-AA31-E4BAEC1530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BC9B5C81-5183-457D-9F4E-493A227F87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58720" y="195058"/>
            <a:ext cx="8895080" cy="815027"/>
          </a:xfrm>
        </p:spPr>
        <p:txBody>
          <a:bodyPr/>
          <a:lstStyle>
            <a:lvl1pPr>
              <a:defRPr sz="3000">
                <a:solidFill>
                  <a:srgbClr val="624E33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E868B984-B8BC-457F-A473-7434AAEC082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632819" y="6356350"/>
            <a:ext cx="91948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7D0AF7BE-5590-4491-9ACA-4153DC872FD2}" type="datetime1">
              <a:rPr lang="ru-RU" smtClean="0"/>
              <a:pPr/>
              <a:t>25.11.20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6E43AF95-7510-45C3-A7FA-6F8C203257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6DC82234-478A-4650-94EC-BDEC660A1E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F89439AD-A166-441A-9978-3BDD957F123B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EBFD4BC2-D38D-4056-80AF-0E04701B0A4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20039" y="230188"/>
            <a:ext cx="1751829" cy="592927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="" xmlns:a16="http://schemas.microsoft.com/office/drawing/2014/main" id="{5AD75797-3F77-43A5-8941-400D40F31FA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243944" y="261663"/>
            <a:ext cx="673736" cy="725562"/>
          </a:xfrm>
          <a:prstGeom prst="rect">
            <a:avLst/>
          </a:prstGeom>
        </p:spPr>
      </p:pic>
      <p:sp>
        <p:nvSpPr>
          <p:cNvPr id="14" name="Дата 3">
            <a:extLst>
              <a:ext uri="{FF2B5EF4-FFF2-40B4-BE49-F238E27FC236}">
                <a16:creationId xmlns="" xmlns:a16="http://schemas.microsoft.com/office/drawing/2014/main" id="{79072A1D-639A-410C-BA6F-388CD7D3869D}"/>
              </a:ext>
            </a:extLst>
          </p:cNvPr>
          <p:cNvSpPr txBox="1">
            <a:spLocks/>
          </p:cNvSpPr>
          <p:nvPr userDrawn="1"/>
        </p:nvSpPr>
        <p:spPr>
          <a:xfrm>
            <a:off x="767715" y="6356350"/>
            <a:ext cx="2768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1" latinLnBrk="0" hangingPunct="1">
              <a:defRPr sz="1200" kern="1200">
                <a:solidFill>
                  <a:srgbClr val="C2A17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>
                <a:solidFill>
                  <a:schemeClr val="accent1"/>
                </a:solidFill>
              </a:rPr>
              <a:t>президентскиегранты.рф</a:t>
            </a:r>
          </a:p>
        </p:txBody>
      </p:sp>
      <p:cxnSp>
        <p:nvCxnSpPr>
          <p:cNvPr id="16" name="Прямая соединительная линия 15">
            <a:extLst>
              <a:ext uri="{FF2B5EF4-FFF2-40B4-BE49-F238E27FC236}">
                <a16:creationId xmlns="" xmlns:a16="http://schemas.microsoft.com/office/drawing/2014/main" id="{F1DBB79B-8344-4FDF-9DCC-86B92E85CB42}"/>
              </a:ext>
            </a:extLst>
          </p:cNvPr>
          <p:cNvCxnSpPr>
            <a:cxnSpLocks/>
          </p:cNvCxnSpPr>
          <p:nvPr userDrawn="1"/>
        </p:nvCxnSpPr>
        <p:spPr>
          <a:xfrm flipH="1">
            <a:off x="2595561" y="6488585"/>
            <a:ext cx="38894" cy="124146"/>
          </a:xfrm>
          <a:prstGeom prst="line">
            <a:avLst/>
          </a:prstGeom>
          <a:ln w="6350" cap="rnd"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>
            <a:extLst>
              <a:ext uri="{FF2B5EF4-FFF2-40B4-BE49-F238E27FC236}">
                <a16:creationId xmlns="" xmlns:a16="http://schemas.microsoft.com/office/drawing/2014/main" id="{C9BC9E81-0C4D-445F-B730-7C63892684E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457785" y="6488585"/>
            <a:ext cx="38894" cy="124146"/>
          </a:xfrm>
          <a:prstGeom prst="line">
            <a:avLst/>
          </a:prstGeom>
          <a:ln w="6350" cap="rnd"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7268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>
            <a:extLst>
              <a:ext uri="{FF2B5EF4-FFF2-40B4-BE49-F238E27FC236}">
                <a16:creationId xmlns="" xmlns:a16="http://schemas.microsoft.com/office/drawing/2014/main" id="{E4DF6200-8591-4E10-A535-4F0161AE564E}"/>
              </a:ext>
            </a:extLst>
          </p:cNvPr>
          <p:cNvSpPr/>
          <p:nvPr userDrawn="1"/>
        </p:nvSpPr>
        <p:spPr>
          <a:xfrm>
            <a:off x="0" y="-1"/>
            <a:ext cx="12192000" cy="6857999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rgbClr val="FBF6EF"/>
              </a:gs>
            </a:gsLst>
            <a:lin ang="5400000" scaled="0"/>
          </a:gra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9" name="Объект 8" hidden="1">
            <a:extLst>
              <a:ext uri="{FF2B5EF4-FFF2-40B4-BE49-F238E27FC236}">
                <a16:creationId xmlns="" xmlns:a16="http://schemas.microsoft.com/office/drawing/2014/main" id="{1B60F097-D3E5-4A3E-AA31-E4BAEC1530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BC9B5C81-5183-457D-9F4E-493A227F87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58720" y="195058"/>
            <a:ext cx="8895080" cy="815027"/>
          </a:xfrm>
        </p:spPr>
        <p:txBody>
          <a:bodyPr/>
          <a:lstStyle>
            <a:lvl1pPr>
              <a:defRPr sz="3000">
                <a:solidFill>
                  <a:srgbClr val="624E33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E868B984-B8BC-457F-A473-7434AAEC082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632819" y="6356350"/>
            <a:ext cx="91948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7D0AF7BE-5590-4491-9ACA-4153DC872FD2}" type="datetime1">
              <a:rPr lang="ru-RU" smtClean="0"/>
              <a:pPr/>
              <a:t>25.11.20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6E43AF95-7510-45C3-A7FA-6F8C203257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6DC82234-478A-4650-94EC-BDEC660A1E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F89439AD-A166-441A-9978-3BDD957F123B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EBFD4BC2-D38D-4056-80AF-0E04701B0A4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20039" y="230188"/>
            <a:ext cx="1751829" cy="592927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="" xmlns:a16="http://schemas.microsoft.com/office/drawing/2014/main" id="{5AD75797-3F77-43A5-8941-400D40F31FA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243944" y="261663"/>
            <a:ext cx="673736" cy="725562"/>
          </a:xfrm>
          <a:prstGeom prst="rect">
            <a:avLst/>
          </a:prstGeom>
        </p:spPr>
      </p:pic>
      <p:sp>
        <p:nvSpPr>
          <p:cNvPr id="14" name="Дата 3">
            <a:extLst>
              <a:ext uri="{FF2B5EF4-FFF2-40B4-BE49-F238E27FC236}">
                <a16:creationId xmlns="" xmlns:a16="http://schemas.microsoft.com/office/drawing/2014/main" id="{79072A1D-639A-410C-BA6F-388CD7D3869D}"/>
              </a:ext>
            </a:extLst>
          </p:cNvPr>
          <p:cNvSpPr txBox="1">
            <a:spLocks/>
          </p:cNvSpPr>
          <p:nvPr userDrawn="1"/>
        </p:nvSpPr>
        <p:spPr>
          <a:xfrm>
            <a:off x="767715" y="6356350"/>
            <a:ext cx="2768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1" latinLnBrk="0" hangingPunct="1">
              <a:defRPr sz="1200" kern="1200">
                <a:solidFill>
                  <a:srgbClr val="C2A17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>
                <a:solidFill>
                  <a:schemeClr val="accent1"/>
                </a:solidFill>
              </a:rPr>
              <a:t>президентскиегранты.рф</a:t>
            </a:r>
          </a:p>
        </p:txBody>
      </p:sp>
      <p:cxnSp>
        <p:nvCxnSpPr>
          <p:cNvPr id="16" name="Прямая соединительная линия 15">
            <a:extLst>
              <a:ext uri="{FF2B5EF4-FFF2-40B4-BE49-F238E27FC236}">
                <a16:creationId xmlns="" xmlns:a16="http://schemas.microsoft.com/office/drawing/2014/main" id="{F1DBB79B-8344-4FDF-9DCC-86B92E85CB42}"/>
              </a:ext>
            </a:extLst>
          </p:cNvPr>
          <p:cNvCxnSpPr>
            <a:cxnSpLocks/>
          </p:cNvCxnSpPr>
          <p:nvPr userDrawn="1"/>
        </p:nvCxnSpPr>
        <p:spPr>
          <a:xfrm flipH="1">
            <a:off x="2595561" y="6488585"/>
            <a:ext cx="38894" cy="124146"/>
          </a:xfrm>
          <a:prstGeom prst="line">
            <a:avLst/>
          </a:prstGeom>
          <a:ln w="6350" cap="rnd"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>
            <a:extLst>
              <a:ext uri="{FF2B5EF4-FFF2-40B4-BE49-F238E27FC236}">
                <a16:creationId xmlns="" xmlns:a16="http://schemas.microsoft.com/office/drawing/2014/main" id="{C9BC9E81-0C4D-445F-B730-7C63892684E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457785" y="6488585"/>
            <a:ext cx="38894" cy="124146"/>
          </a:xfrm>
          <a:prstGeom prst="line">
            <a:avLst/>
          </a:prstGeom>
          <a:ln w="6350" cap="rnd"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689579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>
            <a:extLst>
              <a:ext uri="{FF2B5EF4-FFF2-40B4-BE49-F238E27FC236}">
                <a16:creationId xmlns="" xmlns:a16="http://schemas.microsoft.com/office/drawing/2014/main" id="{9864B517-06E8-4EC7-A473-D9652628F2A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480790" y="6475413"/>
            <a:ext cx="94113" cy="150580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BB0A4463-6CBA-4D2F-A9F0-99D808687CD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554933" y="1972960"/>
            <a:ext cx="4757625" cy="3561718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3B710FA9-71B5-4D07-913D-03EF07C43A5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671638"/>
            <a:ext cx="9144000" cy="2387600"/>
          </a:xfrm>
        </p:spPr>
        <p:txBody>
          <a:bodyPr anchor="b"/>
          <a:lstStyle>
            <a:lvl1pPr algn="l">
              <a:defRPr sz="6000">
                <a:solidFill>
                  <a:srgbClr val="624E33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="" xmlns:a16="http://schemas.microsoft.com/office/drawing/2014/main" id="{39307EE8-3F21-4405-B49C-0CCE87A990C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151313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rgbClr val="3C3837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2DB172E6-64C3-44D3-9B97-55A036862B9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70300" y="6356350"/>
            <a:ext cx="919480" cy="365125"/>
          </a:xfrm>
        </p:spPr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ru-RU"/>
              <a:t>23.05.2018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AF5668FE-6C91-4D6F-B542-07D91E51478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4602" y="472341"/>
            <a:ext cx="2635970" cy="892175"/>
          </a:xfrm>
          <a:prstGeom prst="rect">
            <a:avLst/>
          </a:prstGeom>
        </p:spPr>
      </p:pic>
      <p:sp>
        <p:nvSpPr>
          <p:cNvPr id="9" name="Дата 3">
            <a:extLst>
              <a:ext uri="{FF2B5EF4-FFF2-40B4-BE49-F238E27FC236}">
                <a16:creationId xmlns="" xmlns:a16="http://schemas.microsoft.com/office/drawing/2014/main" id="{7036820A-228F-4F68-AE94-C91D514886FA}"/>
              </a:ext>
            </a:extLst>
          </p:cNvPr>
          <p:cNvSpPr txBox="1">
            <a:spLocks/>
          </p:cNvSpPr>
          <p:nvPr userDrawn="1"/>
        </p:nvSpPr>
        <p:spPr>
          <a:xfrm>
            <a:off x="2583727" y="6356350"/>
            <a:ext cx="2768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1" latinLnBrk="0" hangingPunct="1">
              <a:defRPr sz="1200" kern="1200">
                <a:solidFill>
                  <a:srgbClr val="C2A17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>
                <a:solidFill>
                  <a:schemeClr val="tx1">
                    <a:lumMod val="50000"/>
                    <a:lumOff val="50000"/>
                  </a:schemeClr>
                </a:solidFill>
              </a:rPr>
              <a:t>президентскиегранты.рф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="" xmlns:a16="http://schemas.microsoft.com/office/drawing/2014/main" id="{9E18FA3D-B7C7-4D0D-BA32-6ED61A71076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863786" y="1"/>
            <a:ext cx="4891605" cy="6869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7372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="" xmlns:a16="http://schemas.microsoft.com/office/drawing/2014/main" id="{436E431C-BE07-4104-9D93-22C027683960}"/>
              </a:ext>
            </a:extLst>
          </p:cNvPr>
          <p:cNvSpPr/>
          <p:nvPr userDrawn="1"/>
        </p:nvSpPr>
        <p:spPr>
          <a:xfrm>
            <a:off x="0" y="6356350"/>
            <a:ext cx="12192000" cy="501650"/>
          </a:xfrm>
          <a:prstGeom prst="rect">
            <a:avLst/>
          </a:prstGeom>
          <a:solidFill>
            <a:srgbClr val="3C383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BC9B5C81-5183-457D-9F4E-493A227F87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58720" y="195058"/>
            <a:ext cx="8895080" cy="815027"/>
          </a:xfrm>
        </p:spPr>
        <p:txBody>
          <a:bodyPr/>
          <a:lstStyle>
            <a:lvl1pPr>
              <a:defRPr>
                <a:solidFill>
                  <a:srgbClr val="624E33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D4F6A1C5-C855-4497-8C76-1BC4C65266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6760" y="1287779"/>
            <a:ext cx="10591800" cy="49278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800" b="1">
                <a:solidFill>
                  <a:srgbClr val="3C3837"/>
                </a:solidFill>
              </a:defRPr>
            </a:lvl1pPr>
            <a:lvl2pPr marL="0" indent="0">
              <a:buNone/>
              <a:defRPr sz="1800">
                <a:solidFill>
                  <a:srgbClr val="3C3837"/>
                </a:solidFill>
              </a:defRPr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E868B984-B8BC-457F-A473-7434AAEC08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23.05.2018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6E43AF95-7510-45C3-A7FA-6F8C203257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6DC82234-478A-4650-94EC-BDEC660A1E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9439AD-A166-441A-9978-3BDD957F123B}" type="slidenum">
              <a:rPr lang="ru-RU" smtClean="0"/>
              <a:t>‹#›</a:t>
            </a:fld>
            <a:endParaRPr lang="ru-RU"/>
          </a:p>
        </p:txBody>
      </p:sp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EBFD4BC2-D38D-4056-80AF-0E04701B0A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0039" y="230188"/>
            <a:ext cx="1751829" cy="592927"/>
          </a:xfrm>
          <a:prstGeom prst="rect">
            <a:avLst/>
          </a:prstGeom>
        </p:spPr>
      </p:pic>
      <p:sp>
        <p:nvSpPr>
          <p:cNvPr id="10" name="Дата 3">
            <a:extLst>
              <a:ext uri="{FF2B5EF4-FFF2-40B4-BE49-F238E27FC236}">
                <a16:creationId xmlns="" xmlns:a16="http://schemas.microsoft.com/office/drawing/2014/main" id="{0774C3F4-8780-401B-B201-6971EF814FF2}"/>
              </a:ext>
            </a:extLst>
          </p:cNvPr>
          <p:cNvSpPr txBox="1">
            <a:spLocks/>
          </p:cNvSpPr>
          <p:nvPr userDrawn="1"/>
        </p:nvSpPr>
        <p:spPr>
          <a:xfrm>
            <a:off x="1727200" y="6356350"/>
            <a:ext cx="2768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1" latinLnBrk="0" hangingPunct="1">
              <a:defRPr sz="1200" kern="1200">
                <a:solidFill>
                  <a:srgbClr val="C2A17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/>
              <a:t>президентскиегранты.рф</a:t>
            </a:r>
          </a:p>
        </p:txBody>
      </p:sp>
      <p:pic>
        <p:nvPicPr>
          <p:cNvPr id="15" name="Рисунок 14">
            <a:extLst>
              <a:ext uri="{FF2B5EF4-FFF2-40B4-BE49-F238E27FC236}">
                <a16:creationId xmlns="" xmlns:a16="http://schemas.microsoft.com/office/drawing/2014/main" id="{5AD75797-3F77-43A5-8941-400D40F31FA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43944" y="261663"/>
            <a:ext cx="673736" cy="725562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="" xmlns:a16="http://schemas.microsoft.com/office/drawing/2014/main" id="{79AF82B7-E523-447C-AD57-E2428CAE614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621088" y="6473369"/>
            <a:ext cx="94113" cy="150580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="" xmlns:a16="http://schemas.microsoft.com/office/drawing/2014/main" id="{A39BFA5E-C5EA-4D2F-98E7-E12A1CB67D5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462208" y="6473369"/>
            <a:ext cx="94113" cy="150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63707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ажная мыс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Рисунок 14">
            <a:extLst>
              <a:ext uri="{FF2B5EF4-FFF2-40B4-BE49-F238E27FC236}">
                <a16:creationId xmlns="" xmlns:a16="http://schemas.microsoft.com/office/drawing/2014/main" id="{836D1C53-15A3-44F0-A812-6814A0913B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63786" y="1"/>
            <a:ext cx="4891605" cy="6869716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="" xmlns:a16="http://schemas.microsoft.com/office/drawing/2014/main" id="{B18CC765-5A6B-4AB1-8220-C9B384EA0AA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457940" y="6475413"/>
            <a:ext cx="94113" cy="150580"/>
          </a:xfrm>
          <a:prstGeom prst="rect">
            <a:avLst/>
          </a:prstGeom>
        </p:spPr>
      </p:pic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6DC82234-478A-4650-94EC-BDEC660A1E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F89439AD-A166-441A-9978-3BDD957F123B}" type="slidenum">
              <a:rPr lang="ru-RU" smtClean="0"/>
              <a:pPr/>
              <a:t>‹#›</a:t>
            </a:fld>
            <a:endParaRPr lang="ru-RU"/>
          </a:p>
        </p:txBody>
      </p:sp>
      <p:grpSp>
        <p:nvGrpSpPr>
          <p:cNvPr id="9" name="Группа 8">
            <a:extLst>
              <a:ext uri="{FF2B5EF4-FFF2-40B4-BE49-F238E27FC236}">
                <a16:creationId xmlns="" xmlns:a16="http://schemas.microsoft.com/office/drawing/2014/main" id="{8075C6AF-578C-496E-A9D9-C9687411D52A}"/>
              </a:ext>
            </a:extLst>
          </p:cNvPr>
          <p:cNvGrpSpPr/>
          <p:nvPr userDrawn="1"/>
        </p:nvGrpSpPr>
        <p:grpSpPr>
          <a:xfrm>
            <a:off x="-29298" y="1729010"/>
            <a:ext cx="5637862" cy="4078065"/>
            <a:chOff x="8003005" y="2278285"/>
            <a:chExt cx="3350796" cy="2423750"/>
          </a:xfrm>
        </p:grpSpPr>
        <p:pic>
          <p:nvPicPr>
            <p:cNvPr id="13" name="Рисунок 12">
              <a:extLst>
                <a:ext uri="{FF2B5EF4-FFF2-40B4-BE49-F238E27FC236}">
                  <a16:creationId xmlns="" xmlns:a16="http://schemas.microsoft.com/office/drawing/2014/main" id="{916BAA0A-2B48-46A2-A028-1249433F0F2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=""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003005" y="2623978"/>
              <a:ext cx="2542490" cy="1903394"/>
            </a:xfrm>
            <a:prstGeom prst="rect">
              <a:avLst/>
            </a:prstGeom>
          </p:spPr>
        </p:pic>
        <p:pic>
          <p:nvPicPr>
            <p:cNvPr id="14" name="Рисунок 13">
              <a:extLst>
                <a:ext uri="{FF2B5EF4-FFF2-40B4-BE49-F238E27FC236}">
                  <a16:creationId xmlns="" xmlns:a16="http://schemas.microsoft.com/office/drawing/2014/main" id="{DB31FC65-9593-4A39-A464-7BC013181BB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96DAC541-7B7A-43D3-8B79-37D633B846F1}">
                  <asvg:svgBlip xmlns=""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8116237" y="2278285"/>
              <a:ext cx="3237564" cy="2423750"/>
            </a:xfrm>
            <a:prstGeom prst="rect">
              <a:avLst/>
            </a:prstGeom>
          </p:spPr>
        </p:pic>
      </p:grpSp>
      <p:pic>
        <p:nvPicPr>
          <p:cNvPr id="30" name="Рисунок 29">
            <a:extLst>
              <a:ext uri="{FF2B5EF4-FFF2-40B4-BE49-F238E27FC236}">
                <a16:creationId xmlns="" xmlns:a16="http://schemas.microsoft.com/office/drawing/2014/main" id="{4162B64B-B823-4E56-A896-ED7C61DE919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480790" y="6475413"/>
            <a:ext cx="94113" cy="150580"/>
          </a:xfrm>
          <a:prstGeom prst="rect">
            <a:avLst/>
          </a:prstGeom>
        </p:spPr>
      </p:pic>
      <p:sp>
        <p:nvSpPr>
          <p:cNvPr id="31" name="Заголовок 1">
            <a:extLst>
              <a:ext uri="{FF2B5EF4-FFF2-40B4-BE49-F238E27FC236}">
                <a16:creationId xmlns="" xmlns:a16="http://schemas.microsoft.com/office/drawing/2014/main" id="{51B487A4-5421-4F09-BC7E-A7EBE40AE8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671638"/>
            <a:ext cx="9144000" cy="2387600"/>
          </a:xfrm>
        </p:spPr>
        <p:txBody>
          <a:bodyPr anchor="b"/>
          <a:lstStyle>
            <a:lvl1pPr algn="l">
              <a:defRPr sz="6000">
                <a:solidFill>
                  <a:srgbClr val="624E33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2" name="Подзаголовок 2">
            <a:extLst>
              <a:ext uri="{FF2B5EF4-FFF2-40B4-BE49-F238E27FC236}">
                <a16:creationId xmlns="" xmlns:a16="http://schemas.microsoft.com/office/drawing/2014/main" id="{942DA5EE-82C9-4312-8AD3-F9308D4F5D4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151313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rgbClr val="3C3837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33" name="Дата 3">
            <a:extLst>
              <a:ext uri="{FF2B5EF4-FFF2-40B4-BE49-F238E27FC236}">
                <a16:creationId xmlns="" xmlns:a16="http://schemas.microsoft.com/office/drawing/2014/main" id="{4CD531F0-D633-45D3-8117-7387ADA532E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70300" y="6356350"/>
            <a:ext cx="919480" cy="365125"/>
          </a:xfrm>
        </p:spPr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ru-RU"/>
              <a:t>23.05.2018</a:t>
            </a:r>
          </a:p>
        </p:txBody>
      </p:sp>
      <p:pic>
        <p:nvPicPr>
          <p:cNvPr id="34" name="Рисунок 33">
            <a:extLst>
              <a:ext uri="{FF2B5EF4-FFF2-40B4-BE49-F238E27FC236}">
                <a16:creationId xmlns="" xmlns:a16="http://schemas.microsoft.com/office/drawing/2014/main" id="{3127D67F-AF17-4278-9410-45591C1A8B43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94602" y="472341"/>
            <a:ext cx="2635970" cy="892175"/>
          </a:xfrm>
          <a:prstGeom prst="rect">
            <a:avLst/>
          </a:prstGeom>
        </p:spPr>
      </p:pic>
      <p:sp>
        <p:nvSpPr>
          <p:cNvPr id="35" name="Дата 3">
            <a:extLst>
              <a:ext uri="{FF2B5EF4-FFF2-40B4-BE49-F238E27FC236}">
                <a16:creationId xmlns="" xmlns:a16="http://schemas.microsoft.com/office/drawing/2014/main" id="{57328412-B85A-484D-98C1-4EAF37205DE7}"/>
              </a:ext>
            </a:extLst>
          </p:cNvPr>
          <p:cNvSpPr txBox="1">
            <a:spLocks/>
          </p:cNvSpPr>
          <p:nvPr userDrawn="1"/>
        </p:nvSpPr>
        <p:spPr>
          <a:xfrm>
            <a:off x="2583727" y="6356350"/>
            <a:ext cx="2768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1" latinLnBrk="0" hangingPunct="1">
              <a:defRPr sz="1200" kern="1200">
                <a:solidFill>
                  <a:srgbClr val="C2A17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>
                <a:solidFill>
                  <a:schemeClr val="tx1">
                    <a:lumMod val="50000"/>
                    <a:lumOff val="50000"/>
                  </a:schemeClr>
                </a:solidFill>
              </a:rPr>
              <a:t>президентскиегранты.рф</a:t>
            </a:r>
          </a:p>
        </p:txBody>
      </p:sp>
    </p:spTree>
    <p:extLst>
      <p:ext uri="{BB962C8B-B14F-4D97-AF65-F5344CB8AC3E}">
        <p14:creationId xmlns:p14="http://schemas.microsoft.com/office/powerpoint/2010/main" val="17804913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1D658CD6-363A-4057-A543-2B8F4DCB68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12E2491D-61B6-4C50-87FE-457F9A9EDA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6F79C408-6D8B-427A-8F4B-D9A3A54D9C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23.05.2018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CD67F017-7C33-4A89-A9DB-253780D1B9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3A3BC00A-A628-4E96-9381-31CC7446E8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9439AD-A166-441A-9978-3BDD957F123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98119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theme" Target="../theme/theme1.xml"/><Relationship Id="rId7" Type="http://schemas.openxmlformats.org/officeDocument/2006/relationships/vmlDrawing" Target="../drawings/vmlDrawing1.vml"/><Relationship Id="rId8" Type="http://schemas.openxmlformats.org/officeDocument/2006/relationships/tags" Target="../tags/tag1.xml"/><Relationship Id="rId9" Type="http://schemas.openxmlformats.org/officeDocument/2006/relationships/oleObject" Target="../embeddings/oleObject1.bin"/><Relationship Id="rId1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18.xml"/><Relationship Id="rId14" Type="http://schemas.openxmlformats.org/officeDocument/2006/relationships/theme" Target="../theme/theme2.xml"/><Relationship Id="rId1" Type="http://schemas.openxmlformats.org/officeDocument/2006/relationships/slideLayout" Target="../slideLayouts/slideLayout6.xml"/><Relationship Id="rId2" Type="http://schemas.openxmlformats.org/officeDocument/2006/relationships/slideLayout" Target="../slideLayouts/slideLayout7.xml"/><Relationship Id="rId3" Type="http://schemas.openxmlformats.org/officeDocument/2006/relationships/slideLayout" Target="../slideLayouts/slideLayout8.xml"/><Relationship Id="rId4" Type="http://schemas.openxmlformats.org/officeDocument/2006/relationships/slideLayout" Target="../slideLayouts/slideLayout9.xml"/><Relationship Id="rId5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2.xml"/><Relationship Id="rId8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4.xml"/><Relationship Id="rId10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="" xmlns:a16="http://schemas.microsoft.com/office/drawing/2014/main" id="{85958B84-B196-45B8-99D6-40543AD83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="" xmlns:a16="http://schemas.microsoft.com/office/drawing/2014/main" id="{85958B84-B196-45B8-99D6-40543AD83C0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B2F0F9B9-BA6D-4FB8-87EA-F482D7E90D2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46760" y="6356350"/>
            <a:ext cx="919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C2A171"/>
                </a:solidFill>
              </a:defRPr>
            </a:lvl1pPr>
          </a:lstStyle>
          <a:p>
            <a:fld id="{DD09A8CE-1227-4C94-AA10-F48B3901489B}" type="datetime1">
              <a:rPr lang="ru-RU" smtClean="0"/>
              <a:pPr/>
              <a:t>25.11.20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7336350F-BD8C-44D0-A41E-ABB9076432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77540" y="6356350"/>
            <a:ext cx="699516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C2A171"/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B3094CD5-3A6E-41D0-B402-372A47739D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83240" y="6356350"/>
            <a:ext cx="7696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C2A171"/>
                </a:solidFill>
              </a:defRPr>
            </a:lvl1pPr>
          </a:lstStyle>
          <a:p>
            <a:fld id="{F89439AD-A166-441A-9978-3BDD957F123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975272C3-5B3F-44C0-B244-DC320338D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58720" y="160333"/>
            <a:ext cx="8895080" cy="81502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/>
              <a:t>Образец заголовка</a:t>
            </a:r>
            <a:br>
              <a:rPr lang="ru-RU"/>
            </a:br>
            <a:r>
              <a:rPr lang="ru-RU"/>
              <a:t>в две строки</a:t>
            </a:r>
          </a:p>
        </p:txBody>
      </p:sp>
      <p:sp>
        <p:nvSpPr>
          <p:cNvPr id="26" name="Текст 25">
            <a:extLst>
              <a:ext uri="{FF2B5EF4-FFF2-40B4-BE49-F238E27FC236}">
                <a16:creationId xmlns="" xmlns:a16="http://schemas.microsoft.com/office/drawing/2014/main" id="{4C7BB33F-766F-4246-B936-7EC1296D259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46760" y="1276205"/>
            <a:ext cx="10607040" cy="49278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2604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7" r:id="rId5"/>
  </p:sldLayoutIdLst>
  <p:hf hdr="0" ftr="0" dt="0"/>
  <p:txStyles>
    <p:titleStyle>
      <a:lvl1pPr algn="r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B2F0F9B9-BA6D-4FB8-87EA-F482D7E90D2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46760" y="6356350"/>
            <a:ext cx="919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C2A171"/>
                </a:solidFill>
              </a:defRPr>
            </a:lvl1pPr>
          </a:lstStyle>
          <a:p>
            <a:r>
              <a:rPr lang="ru-RU"/>
              <a:t>23.05.2018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7336350F-BD8C-44D0-A41E-ABB9076432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77540" y="6356350"/>
            <a:ext cx="699516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C2A171"/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B3094CD5-3A6E-41D0-B402-372A47739D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83240" y="6356350"/>
            <a:ext cx="7696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C2A171"/>
                </a:solidFill>
              </a:defRPr>
            </a:lvl1pPr>
          </a:lstStyle>
          <a:p>
            <a:fld id="{F89439AD-A166-441A-9978-3BDD957F123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975272C3-5B3F-44C0-B244-DC320338D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58720" y="160333"/>
            <a:ext cx="8895080" cy="81502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/>
              <a:t>Образец заголовка</a:t>
            </a:r>
            <a:br>
              <a:rPr lang="ru-RU"/>
            </a:br>
            <a:r>
              <a:rPr lang="ru-RU"/>
              <a:t>в две строки</a:t>
            </a:r>
          </a:p>
        </p:txBody>
      </p:sp>
      <p:sp>
        <p:nvSpPr>
          <p:cNvPr id="26" name="Текст 25">
            <a:extLst>
              <a:ext uri="{FF2B5EF4-FFF2-40B4-BE49-F238E27FC236}">
                <a16:creationId xmlns="" xmlns:a16="http://schemas.microsoft.com/office/drawing/2014/main" id="{4C7BB33F-766F-4246-B936-7EC1296D259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46760" y="1276205"/>
            <a:ext cx="10607040" cy="49278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172764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  <p:sldLayoutId id="2147483680" r:id="rId12"/>
    <p:sldLayoutId id="2147483681" r:id="rId13"/>
  </p:sldLayoutIdLst>
  <p:hf hdr="0" ftr="0"/>
  <p:txStyles>
    <p:titleStyle>
      <a:lvl1pPr algn="r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4" Type="http://schemas.openxmlformats.org/officeDocument/2006/relationships/image" Target="../media/image5.svg"/><Relationship Id="rId5" Type="http://schemas.openxmlformats.org/officeDocument/2006/relationships/image" Target="../media/image13.png"/><Relationship Id="rId6" Type="http://schemas.openxmlformats.org/officeDocument/2006/relationships/image" Target="../media/image22.svg"/><Relationship Id="rId7" Type="http://schemas.openxmlformats.org/officeDocument/2006/relationships/image" Target="../media/image4.png"/><Relationship Id="rId8" Type="http://schemas.openxmlformats.org/officeDocument/2006/relationships/image" Target="../media/image23.svg"/><Relationship Id="rId9" Type="http://schemas.openxmlformats.org/officeDocument/2006/relationships/image" Target="../media/image14.png"/><Relationship Id="rId10" Type="http://schemas.openxmlformats.org/officeDocument/2006/relationships/image" Target="../media/image25.sv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1" Type="http://schemas.openxmlformats.org/officeDocument/2006/relationships/image" Target="../media/image4.png"/><Relationship Id="rId12" Type="http://schemas.openxmlformats.org/officeDocument/2006/relationships/image" Target="../media/image23.sv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8.xml"/><Relationship Id="rId3" Type="http://schemas.openxmlformats.org/officeDocument/2006/relationships/image" Target="../media/image12.png"/><Relationship Id="rId4" Type="http://schemas.openxmlformats.org/officeDocument/2006/relationships/image" Target="../media/image133.svg"/><Relationship Id="rId5" Type="http://schemas.openxmlformats.org/officeDocument/2006/relationships/image" Target="../media/image13.png"/><Relationship Id="rId6" Type="http://schemas.openxmlformats.org/officeDocument/2006/relationships/image" Target="../media/image22.svg"/><Relationship Id="rId7" Type="http://schemas.openxmlformats.org/officeDocument/2006/relationships/image" Target="../media/image14.png"/><Relationship Id="rId8" Type="http://schemas.openxmlformats.org/officeDocument/2006/relationships/image" Target="../media/image25.svg"/><Relationship Id="rId9" Type="http://schemas.openxmlformats.org/officeDocument/2006/relationships/image" Target="../media/image57.png"/><Relationship Id="rId10" Type="http://schemas.openxmlformats.org/officeDocument/2006/relationships/image" Target="../media/image135.svg"/></Relationships>
</file>

<file path=ppt/slides/_rels/slide2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9.png"/><Relationship Id="rId12" Type="http://schemas.openxmlformats.org/officeDocument/2006/relationships/image" Target="../media/image35.svg"/><Relationship Id="rId13" Type="http://schemas.openxmlformats.org/officeDocument/2006/relationships/image" Target="../media/image20.png"/><Relationship Id="rId14" Type="http://schemas.openxmlformats.org/officeDocument/2006/relationships/image" Target="../media/image37.sv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15.png"/><Relationship Id="rId4" Type="http://schemas.openxmlformats.org/officeDocument/2006/relationships/image" Target="../media/image27.svg"/><Relationship Id="rId5" Type="http://schemas.openxmlformats.org/officeDocument/2006/relationships/image" Target="../media/image16.png"/><Relationship Id="rId6" Type="http://schemas.openxmlformats.org/officeDocument/2006/relationships/image" Target="../media/image29.svg"/><Relationship Id="rId7" Type="http://schemas.openxmlformats.org/officeDocument/2006/relationships/image" Target="../media/image17.png"/><Relationship Id="rId8" Type="http://schemas.openxmlformats.org/officeDocument/2006/relationships/image" Target="../media/image31.svg"/><Relationship Id="rId9" Type="http://schemas.openxmlformats.org/officeDocument/2006/relationships/image" Target="../media/image18.png"/><Relationship Id="rId10" Type="http://schemas.openxmlformats.org/officeDocument/2006/relationships/image" Target="../media/image33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4" Type="http://schemas.openxmlformats.org/officeDocument/2006/relationships/image" Target="../media/image43.svg"/><Relationship Id="rId5" Type="http://schemas.openxmlformats.org/officeDocument/2006/relationships/image" Target="../media/image22.png"/><Relationship Id="rId6" Type="http://schemas.openxmlformats.org/officeDocument/2006/relationships/image" Target="../media/image45.svg"/><Relationship Id="rId7" Type="http://schemas.openxmlformats.org/officeDocument/2006/relationships/image" Target="../media/image23.png"/><Relationship Id="rId8" Type="http://schemas.openxmlformats.org/officeDocument/2006/relationships/image" Target="../media/image47.svg"/><Relationship Id="rId9" Type="http://schemas.openxmlformats.org/officeDocument/2006/relationships/image" Target="../media/image24.png"/><Relationship Id="rId10" Type="http://schemas.openxmlformats.org/officeDocument/2006/relationships/image" Target="../media/image49.svg"/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4" Type="http://schemas.openxmlformats.org/officeDocument/2006/relationships/image" Target="../media/image26.jpeg"/><Relationship Id="rId5" Type="http://schemas.openxmlformats.org/officeDocument/2006/relationships/image" Target="../media/image27.jpeg"/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9" Type="http://schemas.openxmlformats.org/officeDocument/2006/relationships/image" Target="../media/image35.jpeg"/><Relationship Id="rId20" Type="http://schemas.openxmlformats.org/officeDocument/2006/relationships/image" Target="../media/image44.png"/><Relationship Id="rId21" Type="http://schemas.openxmlformats.org/officeDocument/2006/relationships/image" Target="../media/image72.svg"/><Relationship Id="rId10" Type="http://schemas.openxmlformats.org/officeDocument/2006/relationships/image" Target="../media/image36.jpeg"/><Relationship Id="rId11" Type="http://schemas.openxmlformats.org/officeDocument/2006/relationships/image" Target="../media/image37.png"/><Relationship Id="rId12" Type="http://schemas.openxmlformats.org/officeDocument/2006/relationships/image" Target="../media/image38.jpeg"/><Relationship Id="rId13" Type="http://schemas.openxmlformats.org/officeDocument/2006/relationships/image" Target="../media/image39.png"/><Relationship Id="rId14" Type="http://schemas.openxmlformats.org/officeDocument/2006/relationships/image" Target="../media/image40.png"/><Relationship Id="rId15" Type="http://schemas.openxmlformats.org/officeDocument/2006/relationships/image" Target="../media/image66.svg"/><Relationship Id="rId16" Type="http://schemas.openxmlformats.org/officeDocument/2006/relationships/image" Target="../media/image41.png"/><Relationship Id="rId17" Type="http://schemas.openxmlformats.org/officeDocument/2006/relationships/image" Target="../media/image68.svg"/><Relationship Id="rId18" Type="http://schemas.openxmlformats.org/officeDocument/2006/relationships/image" Target="../media/image42.png"/><Relationship Id="rId19" Type="http://schemas.openxmlformats.org/officeDocument/2006/relationships/image" Target="../media/image43.png"/><Relationship Id="rId1" Type="http://schemas.openxmlformats.org/officeDocument/2006/relationships/slideLayout" Target="../slideLayouts/slideLayout18.xml"/><Relationship Id="rId2" Type="http://schemas.openxmlformats.org/officeDocument/2006/relationships/image" Target="../media/image28.jpeg"/><Relationship Id="rId3" Type="http://schemas.openxmlformats.org/officeDocument/2006/relationships/image" Target="../media/image29.png"/><Relationship Id="rId4" Type="http://schemas.openxmlformats.org/officeDocument/2006/relationships/image" Target="../media/image30.png"/><Relationship Id="rId5" Type="http://schemas.openxmlformats.org/officeDocument/2006/relationships/image" Target="../media/image31.png"/><Relationship Id="rId6" Type="http://schemas.openxmlformats.org/officeDocument/2006/relationships/image" Target="../media/image32.jpeg"/><Relationship Id="rId7" Type="http://schemas.openxmlformats.org/officeDocument/2006/relationships/image" Target="../media/image33.png"/><Relationship Id="rId8" Type="http://schemas.openxmlformats.org/officeDocument/2006/relationships/image" Target="../media/image3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4" Type="http://schemas.openxmlformats.org/officeDocument/2006/relationships/chart" Target="../charts/chart3.xml"/><Relationship Id="rId1" Type="http://schemas.openxmlformats.org/officeDocument/2006/relationships/slideLayout" Target="../slideLayouts/slideLayout1.xml"/><Relationship Id="rId2" Type="http://schemas.openxmlformats.org/officeDocument/2006/relationships/chart" Target="../charts/char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notesSlide" Target="../notesSlides/notesSlide5.xml"/><Relationship Id="rId5" Type="http://schemas.openxmlformats.org/officeDocument/2006/relationships/oleObject" Target="../embeddings/oleObject7.bin"/><Relationship Id="rId6" Type="http://schemas.openxmlformats.org/officeDocument/2006/relationships/image" Target="../media/image1.emf"/><Relationship Id="rId7" Type="http://schemas.openxmlformats.org/officeDocument/2006/relationships/image" Target="../media/image45.png"/><Relationship Id="rId8" Type="http://schemas.openxmlformats.org/officeDocument/2006/relationships/image" Target="../media/image74.svg"/><Relationship Id="rId1" Type="http://schemas.openxmlformats.org/officeDocument/2006/relationships/vmlDrawing" Target="../drawings/vmlDrawing7.vml"/><Relationship Id="rId2" Type="http://schemas.openxmlformats.org/officeDocument/2006/relationships/tags" Target="../tags/tag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4" Type="http://schemas.openxmlformats.org/officeDocument/2006/relationships/image" Target="../media/image104.svg"/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6.xml"/></Relationships>
</file>

<file path=ppt/slides/_rels/slide9.xml.rels><?xml version="1.0" encoding="UTF-8" standalone="yes"?>
<Relationships xmlns="http://schemas.openxmlformats.org/package/2006/relationships"><Relationship Id="rId9" Type="http://schemas.openxmlformats.org/officeDocument/2006/relationships/image" Target="../media/image50.png"/><Relationship Id="rId20" Type="http://schemas.openxmlformats.org/officeDocument/2006/relationships/image" Target="../media/image130.svg"/><Relationship Id="rId21" Type="http://schemas.openxmlformats.org/officeDocument/2006/relationships/image" Target="../media/image56.png"/><Relationship Id="rId22" Type="http://schemas.openxmlformats.org/officeDocument/2006/relationships/image" Target="../media/image132.svg"/><Relationship Id="rId10" Type="http://schemas.openxmlformats.org/officeDocument/2006/relationships/image" Target="../media/image120.svg"/><Relationship Id="rId11" Type="http://schemas.openxmlformats.org/officeDocument/2006/relationships/image" Target="../media/image51.png"/><Relationship Id="rId12" Type="http://schemas.openxmlformats.org/officeDocument/2006/relationships/image" Target="../media/image122.svg"/><Relationship Id="rId13" Type="http://schemas.openxmlformats.org/officeDocument/2006/relationships/image" Target="../media/image52.png"/><Relationship Id="rId14" Type="http://schemas.openxmlformats.org/officeDocument/2006/relationships/image" Target="../media/image124.svg"/><Relationship Id="rId15" Type="http://schemas.openxmlformats.org/officeDocument/2006/relationships/image" Target="../media/image53.png"/><Relationship Id="rId16" Type="http://schemas.openxmlformats.org/officeDocument/2006/relationships/image" Target="../media/image126.svg"/><Relationship Id="rId17" Type="http://schemas.openxmlformats.org/officeDocument/2006/relationships/image" Target="../media/image54.png"/><Relationship Id="rId18" Type="http://schemas.openxmlformats.org/officeDocument/2006/relationships/image" Target="../media/image128.svg"/><Relationship Id="rId19" Type="http://schemas.openxmlformats.org/officeDocument/2006/relationships/image" Target="../media/image55.png"/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7.xml"/><Relationship Id="rId3" Type="http://schemas.openxmlformats.org/officeDocument/2006/relationships/image" Target="../media/image47.png"/><Relationship Id="rId4" Type="http://schemas.openxmlformats.org/officeDocument/2006/relationships/image" Target="../media/image114.svg"/><Relationship Id="rId5" Type="http://schemas.openxmlformats.org/officeDocument/2006/relationships/image" Target="../media/image48.png"/><Relationship Id="rId6" Type="http://schemas.openxmlformats.org/officeDocument/2006/relationships/image" Target="../media/image116.svg"/><Relationship Id="rId7" Type="http://schemas.openxmlformats.org/officeDocument/2006/relationships/image" Target="../media/image49.png"/><Relationship Id="rId8" Type="http://schemas.openxmlformats.org/officeDocument/2006/relationships/image" Target="../media/image118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89CDE201-9CEB-42C5-9549-6D9ACC95797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rcRect b="1635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="" xmlns:a16="http://schemas.microsoft.com/office/drawing/2014/main" id="{D78768F0-7E36-4677-8F6F-0222994B7FE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="" xmlns:a16="http://schemas.microsoft.com/office/drawing/2014/main" id="{B40D25B0-A8DD-4664-BE57-C36348CC040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763501" y="472341"/>
            <a:ext cx="2635970" cy="892175"/>
          </a:xfrm>
          <a:prstGeom prst="rect">
            <a:avLst/>
          </a:prstGeom>
        </p:spPr>
      </p:pic>
      <p:sp>
        <p:nvSpPr>
          <p:cNvPr id="7" name="Заголовок 1">
            <a:extLst>
              <a:ext uri="{FF2B5EF4-FFF2-40B4-BE49-F238E27FC236}">
                <a16:creationId xmlns="" xmlns:a16="http://schemas.microsoft.com/office/drawing/2014/main" id="{DEBBABF3-26BF-4946-BD71-648CC4ACF14A}"/>
              </a:ext>
            </a:extLst>
          </p:cNvPr>
          <p:cNvSpPr txBox="1">
            <a:spLocks/>
          </p:cNvSpPr>
          <p:nvPr/>
        </p:nvSpPr>
        <p:spPr>
          <a:xfrm>
            <a:off x="754338" y="2823652"/>
            <a:ext cx="10776856" cy="2387600"/>
          </a:xfrm>
          <a:prstGeom prst="rect">
            <a:avLst/>
          </a:prstGeom>
        </p:spPr>
        <p:txBody>
          <a:bodyPr/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 algn="ctr"/>
            <a:r>
              <a:rPr lang="ru-RU" sz="6000" dirty="0">
                <a:solidFill>
                  <a:srgbClr val="624E33"/>
                </a:solidFill>
              </a:rPr>
              <a:t>Президентские гранты:</a:t>
            </a:r>
            <a:br>
              <a:rPr lang="ru-RU" sz="6000" dirty="0">
                <a:solidFill>
                  <a:srgbClr val="624E33"/>
                </a:solidFill>
              </a:rPr>
            </a:br>
            <a:r>
              <a:rPr lang="ru-RU" sz="6000" b="0" dirty="0">
                <a:solidFill>
                  <a:srgbClr val="624E33"/>
                </a:solidFill>
              </a:rPr>
              <a:t>три года в новом формате</a:t>
            </a:r>
            <a:endParaRPr lang="ru-RU" sz="4000" b="0" dirty="0">
              <a:solidFill>
                <a:srgbClr val="624E33"/>
              </a:solidFill>
            </a:endParaRPr>
          </a:p>
        </p:txBody>
      </p:sp>
      <p:sp>
        <p:nvSpPr>
          <p:cNvPr id="12" name="Полилиния: фигура 11">
            <a:extLst>
              <a:ext uri="{FF2B5EF4-FFF2-40B4-BE49-F238E27FC236}">
                <a16:creationId xmlns="" xmlns:a16="http://schemas.microsoft.com/office/drawing/2014/main" id="{A7D0072D-DDEB-417D-BA92-B7392BEF76CD}"/>
              </a:ext>
            </a:extLst>
          </p:cNvPr>
          <p:cNvSpPr/>
          <p:nvPr/>
        </p:nvSpPr>
        <p:spPr>
          <a:xfrm>
            <a:off x="10060057" y="4374351"/>
            <a:ext cx="4263885" cy="5092416"/>
          </a:xfrm>
          <a:custGeom>
            <a:avLst/>
            <a:gdLst>
              <a:gd name="connsiteX0" fmla="*/ 517080 w 650784"/>
              <a:gd name="connsiteY0" fmla="*/ 34081 h 777240"/>
              <a:gd name="connsiteX1" fmla="*/ 590178 w 650784"/>
              <a:gd name="connsiteY1" fmla="*/ 16501 h 777240"/>
              <a:gd name="connsiteX2" fmla="*/ 649396 w 650784"/>
              <a:gd name="connsiteY2" fmla="*/ 2313 h 777240"/>
              <a:gd name="connsiteX3" fmla="*/ 569822 w 650784"/>
              <a:gd name="connsiteY3" fmla="*/ 92066 h 777240"/>
              <a:gd name="connsiteX4" fmla="*/ 432880 w 650784"/>
              <a:gd name="connsiteY4" fmla="*/ 601590 h 777240"/>
              <a:gd name="connsiteX5" fmla="*/ 353305 w 650784"/>
              <a:gd name="connsiteY5" fmla="*/ 691651 h 777240"/>
              <a:gd name="connsiteX6" fmla="*/ 123834 w 650784"/>
              <a:gd name="connsiteY6" fmla="*/ 746860 h 777240"/>
              <a:gd name="connsiteX7" fmla="*/ 61223 w 650784"/>
              <a:gd name="connsiteY7" fmla="*/ 761973 h 777240"/>
              <a:gd name="connsiteX8" fmla="*/ 2313 w 650784"/>
              <a:gd name="connsiteY8" fmla="*/ 776161 h 777240"/>
              <a:gd name="connsiteX9" fmla="*/ 81888 w 650784"/>
              <a:gd name="connsiteY9" fmla="*/ 686408 h 777240"/>
              <a:gd name="connsiteX10" fmla="*/ 218830 w 650784"/>
              <a:gd name="connsiteY10" fmla="*/ 176884 h 777240"/>
              <a:gd name="connsiteX11" fmla="*/ 298405 w 650784"/>
              <a:gd name="connsiteY11" fmla="*/ 86823 h 777240"/>
              <a:gd name="connsiteX12" fmla="*/ 517080 w 650784"/>
              <a:gd name="connsiteY12" fmla="*/ 34081 h 777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50784" h="777240">
                <a:moveTo>
                  <a:pt x="517080" y="34081"/>
                </a:moveTo>
                <a:lnTo>
                  <a:pt x="590178" y="16501"/>
                </a:lnTo>
                <a:lnTo>
                  <a:pt x="649396" y="2313"/>
                </a:lnTo>
                <a:cubicBezTo>
                  <a:pt x="613927" y="10949"/>
                  <a:pt x="582159" y="46727"/>
                  <a:pt x="569822" y="92066"/>
                </a:cubicBezTo>
                <a:lnTo>
                  <a:pt x="432880" y="601590"/>
                </a:lnTo>
                <a:cubicBezTo>
                  <a:pt x="420542" y="647238"/>
                  <a:pt x="388774" y="683015"/>
                  <a:pt x="353305" y="691651"/>
                </a:cubicBezTo>
                <a:lnTo>
                  <a:pt x="123834" y="746860"/>
                </a:lnTo>
                <a:lnTo>
                  <a:pt x="61223" y="761973"/>
                </a:lnTo>
                <a:lnTo>
                  <a:pt x="2313" y="776161"/>
                </a:lnTo>
                <a:cubicBezTo>
                  <a:pt x="37783" y="767525"/>
                  <a:pt x="69551" y="731747"/>
                  <a:pt x="81888" y="686408"/>
                </a:cubicBezTo>
                <a:lnTo>
                  <a:pt x="218830" y="176884"/>
                </a:lnTo>
                <a:cubicBezTo>
                  <a:pt x="231167" y="131236"/>
                  <a:pt x="262935" y="95459"/>
                  <a:pt x="298405" y="86823"/>
                </a:cubicBezTo>
                <a:lnTo>
                  <a:pt x="517080" y="34081"/>
                </a:lnTo>
                <a:close/>
              </a:path>
            </a:pathLst>
          </a:custGeom>
          <a:gradFill>
            <a:gsLst>
              <a:gs pos="0">
                <a:srgbClr val="FFE682"/>
              </a:gs>
              <a:gs pos="100000">
                <a:srgbClr val="FFC61B"/>
              </a:gs>
            </a:gsLst>
            <a:lin ang="16800000" scaled="0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" name="Группа 1">
            <a:extLst>
              <a:ext uri="{FF2B5EF4-FFF2-40B4-BE49-F238E27FC236}">
                <a16:creationId xmlns="" xmlns:a16="http://schemas.microsoft.com/office/drawing/2014/main" id="{4EB8D754-47E8-47A8-9EED-A3377BD5F2D5}"/>
              </a:ext>
            </a:extLst>
          </p:cNvPr>
          <p:cNvGrpSpPr/>
          <p:nvPr/>
        </p:nvGrpSpPr>
        <p:grpSpPr>
          <a:xfrm>
            <a:off x="716630" y="553072"/>
            <a:ext cx="1389286" cy="1594269"/>
            <a:chOff x="787884" y="980586"/>
            <a:chExt cx="1389286" cy="1594269"/>
          </a:xfrm>
        </p:grpSpPr>
        <p:sp>
          <p:nvSpPr>
            <p:cNvPr id="9" name="Полилиния: фигура 8">
              <a:extLst>
                <a:ext uri="{FF2B5EF4-FFF2-40B4-BE49-F238E27FC236}">
                  <a16:creationId xmlns="" xmlns:a16="http://schemas.microsoft.com/office/drawing/2014/main" id="{A10BA1AA-9808-4B34-8A35-A12023899248}"/>
                </a:ext>
              </a:extLst>
            </p:cNvPr>
            <p:cNvSpPr/>
            <p:nvPr/>
          </p:nvSpPr>
          <p:spPr>
            <a:xfrm>
              <a:off x="787884" y="1613689"/>
              <a:ext cx="801710" cy="961166"/>
            </a:xfrm>
            <a:custGeom>
              <a:avLst/>
              <a:gdLst>
                <a:gd name="connsiteX0" fmla="*/ 788975 w 801709"/>
                <a:gd name="connsiteY0" fmla="*/ 1973 h 961165"/>
                <a:gd name="connsiteX1" fmla="*/ 801378 w 801709"/>
                <a:gd name="connsiteY1" fmla="*/ 14818 h 961165"/>
                <a:gd name="connsiteX2" fmla="*/ 788754 w 801709"/>
                <a:gd name="connsiteY2" fmla="*/ 33864 h 961165"/>
                <a:gd name="connsiteX3" fmla="*/ 705261 w 801709"/>
                <a:gd name="connsiteY3" fmla="*/ 128209 h 961165"/>
                <a:gd name="connsiteX4" fmla="*/ 541376 w 801709"/>
                <a:gd name="connsiteY4" fmla="*/ 738128 h 961165"/>
                <a:gd name="connsiteX5" fmla="*/ 434186 w 801709"/>
                <a:gd name="connsiteY5" fmla="*/ 859271 h 961165"/>
                <a:gd name="connsiteX6" fmla="*/ 14063 w 801709"/>
                <a:gd name="connsiteY6" fmla="*/ 960702 h 961165"/>
                <a:gd name="connsiteX7" fmla="*/ 1661 w 801709"/>
                <a:gd name="connsiteY7" fmla="*/ 947636 h 961165"/>
                <a:gd name="connsiteX8" fmla="*/ 14285 w 801709"/>
                <a:gd name="connsiteY8" fmla="*/ 928590 h 961165"/>
                <a:gd name="connsiteX9" fmla="*/ 97778 w 801709"/>
                <a:gd name="connsiteY9" fmla="*/ 834245 h 961165"/>
                <a:gd name="connsiteX10" fmla="*/ 261663 w 801709"/>
                <a:gd name="connsiteY10" fmla="*/ 224325 h 961165"/>
                <a:gd name="connsiteX11" fmla="*/ 368853 w 801709"/>
                <a:gd name="connsiteY11" fmla="*/ 103183 h 961165"/>
                <a:gd name="connsiteX12" fmla="*/ 788975 w 801709"/>
                <a:gd name="connsiteY12" fmla="*/ 1973 h 961165"/>
                <a:gd name="connsiteX13" fmla="*/ 682007 w 801709"/>
                <a:gd name="connsiteY13" fmla="*/ 122894 h 961165"/>
                <a:gd name="connsiteX14" fmla="*/ 717885 w 801709"/>
                <a:gd name="connsiteY14" fmla="*/ 50917 h 961165"/>
                <a:gd name="connsiteX15" fmla="*/ 368631 w 801709"/>
                <a:gd name="connsiteY15" fmla="*/ 135074 h 961165"/>
                <a:gd name="connsiteX16" fmla="*/ 285138 w 801709"/>
                <a:gd name="connsiteY16" fmla="*/ 229641 h 961165"/>
                <a:gd name="connsiteX17" fmla="*/ 121253 w 801709"/>
                <a:gd name="connsiteY17" fmla="*/ 839560 h 961165"/>
                <a:gd name="connsiteX18" fmla="*/ 85375 w 801709"/>
                <a:gd name="connsiteY18" fmla="*/ 911537 h 961165"/>
                <a:gd name="connsiteX19" fmla="*/ 434629 w 801709"/>
                <a:gd name="connsiteY19" fmla="*/ 827379 h 961165"/>
                <a:gd name="connsiteX20" fmla="*/ 518121 w 801709"/>
                <a:gd name="connsiteY20" fmla="*/ 732813 h 961165"/>
                <a:gd name="connsiteX21" fmla="*/ 682007 w 801709"/>
                <a:gd name="connsiteY21" fmla="*/ 122894 h 961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801709" h="961165">
                  <a:moveTo>
                    <a:pt x="788975" y="1973"/>
                  </a:moveTo>
                  <a:cubicBezTo>
                    <a:pt x="795841" y="201"/>
                    <a:pt x="801378" y="6181"/>
                    <a:pt x="801378" y="14818"/>
                  </a:cubicBezTo>
                  <a:cubicBezTo>
                    <a:pt x="801378" y="23677"/>
                    <a:pt x="795841" y="32092"/>
                    <a:pt x="788754" y="33864"/>
                  </a:cubicBezTo>
                  <a:cubicBezTo>
                    <a:pt x="751769" y="42723"/>
                    <a:pt x="718106" y="80593"/>
                    <a:pt x="705261" y="128209"/>
                  </a:cubicBezTo>
                  <a:lnTo>
                    <a:pt x="541376" y="738128"/>
                  </a:lnTo>
                  <a:cubicBezTo>
                    <a:pt x="524987" y="799253"/>
                    <a:pt x="482022" y="847976"/>
                    <a:pt x="434186" y="859271"/>
                  </a:cubicBezTo>
                  <a:lnTo>
                    <a:pt x="14063" y="960702"/>
                  </a:lnTo>
                  <a:cubicBezTo>
                    <a:pt x="7198" y="962474"/>
                    <a:pt x="1661" y="956495"/>
                    <a:pt x="1661" y="947636"/>
                  </a:cubicBezTo>
                  <a:cubicBezTo>
                    <a:pt x="1661" y="938777"/>
                    <a:pt x="7198" y="930361"/>
                    <a:pt x="14285" y="928590"/>
                  </a:cubicBezTo>
                  <a:cubicBezTo>
                    <a:pt x="51270" y="919731"/>
                    <a:pt x="84933" y="881639"/>
                    <a:pt x="97778" y="834245"/>
                  </a:cubicBezTo>
                  <a:lnTo>
                    <a:pt x="261663" y="224325"/>
                  </a:lnTo>
                  <a:cubicBezTo>
                    <a:pt x="278052" y="163201"/>
                    <a:pt x="321016" y="114478"/>
                    <a:pt x="368853" y="103183"/>
                  </a:cubicBezTo>
                  <a:lnTo>
                    <a:pt x="788975" y="1973"/>
                  </a:lnTo>
                  <a:close/>
                  <a:moveTo>
                    <a:pt x="682007" y="122894"/>
                  </a:moveTo>
                  <a:cubicBezTo>
                    <a:pt x="689315" y="95653"/>
                    <a:pt x="701939" y="71070"/>
                    <a:pt x="717885" y="50917"/>
                  </a:cubicBezTo>
                  <a:lnTo>
                    <a:pt x="368631" y="135074"/>
                  </a:lnTo>
                  <a:cubicBezTo>
                    <a:pt x="331425" y="143933"/>
                    <a:pt x="297984" y="182025"/>
                    <a:pt x="285138" y="229641"/>
                  </a:cubicBezTo>
                  <a:lnTo>
                    <a:pt x="121253" y="839560"/>
                  </a:lnTo>
                  <a:cubicBezTo>
                    <a:pt x="113945" y="866800"/>
                    <a:pt x="101321" y="891383"/>
                    <a:pt x="85375" y="911537"/>
                  </a:cubicBezTo>
                  <a:lnTo>
                    <a:pt x="434629" y="827379"/>
                  </a:lnTo>
                  <a:cubicBezTo>
                    <a:pt x="471835" y="818521"/>
                    <a:pt x="505276" y="780428"/>
                    <a:pt x="518121" y="732813"/>
                  </a:cubicBezTo>
                  <a:lnTo>
                    <a:pt x="682007" y="122894"/>
                  </a:lnTo>
                </a:path>
              </a:pathLst>
            </a:custGeom>
            <a:gradFill>
              <a:gsLst>
                <a:gs pos="0">
                  <a:srgbClr val="FFE682"/>
                </a:gs>
                <a:gs pos="100000">
                  <a:srgbClr val="FFC61B"/>
                </a:gs>
              </a:gsLst>
              <a:lin ang="16800000" scaled="0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Полилиния: фигура 13">
              <a:extLst>
                <a:ext uri="{FF2B5EF4-FFF2-40B4-BE49-F238E27FC236}">
                  <a16:creationId xmlns="" xmlns:a16="http://schemas.microsoft.com/office/drawing/2014/main" id="{D3665D42-54FA-492C-832D-C8E026BDE786}"/>
                </a:ext>
              </a:extLst>
            </p:cNvPr>
            <p:cNvSpPr/>
            <p:nvPr/>
          </p:nvSpPr>
          <p:spPr>
            <a:xfrm>
              <a:off x="1101219" y="980586"/>
              <a:ext cx="1075951" cy="1285023"/>
            </a:xfrm>
            <a:custGeom>
              <a:avLst/>
              <a:gdLst>
                <a:gd name="connsiteX0" fmla="*/ 517080 w 650784"/>
                <a:gd name="connsiteY0" fmla="*/ 34081 h 777240"/>
                <a:gd name="connsiteX1" fmla="*/ 590178 w 650784"/>
                <a:gd name="connsiteY1" fmla="*/ 16501 h 777240"/>
                <a:gd name="connsiteX2" fmla="*/ 649396 w 650784"/>
                <a:gd name="connsiteY2" fmla="*/ 2313 h 777240"/>
                <a:gd name="connsiteX3" fmla="*/ 569822 w 650784"/>
                <a:gd name="connsiteY3" fmla="*/ 92066 h 777240"/>
                <a:gd name="connsiteX4" fmla="*/ 432880 w 650784"/>
                <a:gd name="connsiteY4" fmla="*/ 601590 h 777240"/>
                <a:gd name="connsiteX5" fmla="*/ 353305 w 650784"/>
                <a:gd name="connsiteY5" fmla="*/ 691651 h 777240"/>
                <a:gd name="connsiteX6" fmla="*/ 123834 w 650784"/>
                <a:gd name="connsiteY6" fmla="*/ 746860 h 777240"/>
                <a:gd name="connsiteX7" fmla="*/ 61223 w 650784"/>
                <a:gd name="connsiteY7" fmla="*/ 761973 h 777240"/>
                <a:gd name="connsiteX8" fmla="*/ 2313 w 650784"/>
                <a:gd name="connsiteY8" fmla="*/ 776161 h 777240"/>
                <a:gd name="connsiteX9" fmla="*/ 81888 w 650784"/>
                <a:gd name="connsiteY9" fmla="*/ 686408 h 777240"/>
                <a:gd name="connsiteX10" fmla="*/ 218830 w 650784"/>
                <a:gd name="connsiteY10" fmla="*/ 176884 h 777240"/>
                <a:gd name="connsiteX11" fmla="*/ 298405 w 650784"/>
                <a:gd name="connsiteY11" fmla="*/ 86823 h 777240"/>
                <a:gd name="connsiteX12" fmla="*/ 517080 w 650784"/>
                <a:gd name="connsiteY12" fmla="*/ 34081 h 777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0784" h="777240">
                  <a:moveTo>
                    <a:pt x="517080" y="34081"/>
                  </a:moveTo>
                  <a:lnTo>
                    <a:pt x="590178" y="16501"/>
                  </a:lnTo>
                  <a:lnTo>
                    <a:pt x="649396" y="2313"/>
                  </a:lnTo>
                  <a:cubicBezTo>
                    <a:pt x="613927" y="10949"/>
                    <a:pt x="582159" y="46727"/>
                    <a:pt x="569822" y="92066"/>
                  </a:cubicBezTo>
                  <a:lnTo>
                    <a:pt x="432880" y="601590"/>
                  </a:lnTo>
                  <a:cubicBezTo>
                    <a:pt x="420542" y="647238"/>
                    <a:pt x="388774" y="683015"/>
                    <a:pt x="353305" y="691651"/>
                  </a:cubicBezTo>
                  <a:lnTo>
                    <a:pt x="123834" y="746860"/>
                  </a:lnTo>
                  <a:lnTo>
                    <a:pt x="61223" y="761973"/>
                  </a:lnTo>
                  <a:lnTo>
                    <a:pt x="2313" y="776161"/>
                  </a:lnTo>
                  <a:cubicBezTo>
                    <a:pt x="37783" y="767525"/>
                    <a:pt x="69551" y="731747"/>
                    <a:pt x="81888" y="686408"/>
                  </a:cubicBezTo>
                  <a:lnTo>
                    <a:pt x="218830" y="176884"/>
                  </a:lnTo>
                  <a:cubicBezTo>
                    <a:pt x="231167" y="131236"/>
                    <a:pt x="262935" y="95459"/>
                    <a:pt x="298405" y="86823"/>
                  </a:cubicBezTo>
                  <a:lnTo>
                    <a:pt x="517080" y="34081"/>
                  </a:lnTo>
                  <a:close/>
                </a:path>
              </a:pathLst>
            </a:custGeom>
            <a:gradFill>
              <a:gsLst>
                <a:gs pos="0">
                  <a:srgbClr val="FFE682"/>
                </a:gs>
                <a:gs pos="100000">
                  <a:srgbClr val="FFC61B"/>
                </a:gs>
              </a:gsLst>
              <a:lin ang="16800000" scaled="0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0" name="Полилиния: фигура 19">
            <a:extLst>
              <a:ext uri="{FF2B5EF4-FFF2-40B4-BE49-F238E27FC236}">
                <a16:creationId xmlns="" xmlns:a16="http://schemas.microsoft.com/office/drawing/2014/main" id="{3A1702F1-D86D-4CCE-B89F-8FC3E38C1CAB}"/>
              </a:ext>
            </a:extLst>
          </p:cNvPr>
          <p:cNvSpPr/>
          <p:nvPr/>
        </p:nvSpPr>
        <p:spPr>
          <a:xfrm>
            <a:off x="10335744" y="691830"/>
            <a:ext cx="858778" cy="1029585"/>
          </a:xfrm>
          <a:custGeom>
            <a:avLst/>
            <a:gdLst>
              <a:gd name="connsiteX0" fmla="*/ 788975 w 801709"/>
              <a:gd name="connsiteY0" fmla="*/ 1973 h 961165"/>
              <a:gd name="connsiteX1" fmla="*/ 801378 w 801709"/>
              <a:gd name="connsiteY1" fmla="*/ 14818 h 961165"/>
              <a:gd name="connsiteX2" fmla="*/ 788754 w 801709"/>
              <a:gd name="connsiteY2" fmla="*/ 33864 h 961165"/>
              <a:gd name="connsiteX3" fmla="*/ 705261 w 801709"/>
              <a:gd name="connsiteY3" fmla="*/ 128209 h 961165"/>
              <a:gd name="connsiteX4" fmla="*/ 541376 w 801709"/>
              <a:gd name="connsiteY4" fmla="*/ 738128 h 961165"/>
              <a:gd name="connsiteX5" fmla="*/ 434186 w 801709"/>
              <a:gd name="connsiteY5" fmla="*/ 859271 h 961165"/>
              <a:gd name="connsiteX6" fmla="*/ 14063 w 801709"/>
              <a:gd name="connsiteY6" fmla="*/ 960702 h 961165"/>
              <a:gd name="connsiteX7" fmla="*/ 1661 w 801709"/>
              <a:gd name="connsiteY7" fmla="*/ 947636 h 961165"/>
              <a:gd name="connsiteX8" fmla="*/ 14285 w 801709"/>
              <a:gd name="connsiteY8" fmla="*/ 928590 h 961165"/>
              <a:gd name="connsiteX9" fmla="*/ 97778 w 801709"/>
              <a:gd name="connsiteY9" fmla="*/ 834245 h 961165"/>
              <a:gd name="connsiteX10" fmla="*/ 261663 w 801709"/>
              <a:gd name="connsiteY10" fmla="*/ 224325 h 961165"/>
              <a:gd name="connsiteX11" fmla="*/ 368853 w 801709"/>
              <a:gd name="connsiteY11" fmla="*/ 103183 h 961165"/>
              <a:gd name="connsiteX12" fmla="*/ 788975 w 801709"/>
              <a:gd name="connsiteY12" fmla="*/ 1973 h 961165"/>
              <a:gd name="connsiteX13" fmla="*/ 682007 w 801709"/>
              <a:gd name="connsiteY13" fmla="*/ 122894 h 961165"/>
              <a:gd name="connsiteX14" fmla="*/ 717885 w 801709"/>
              <a:gd name="connsiteY14" fmla="*/ 50917 h 961165"/>
              <a:gd name="connsiteX15" fmla="*/ 368631 w 801709"/>
              <a:gd name="connsiteY15" fmla="*/ 135074 h 961165"/>
              <a:gd name="connsiteX16" fmla="*/ 285138 w 801709"/>
              <a:gd name="connsiteY16" fmla="*/ 229641 h 961165"/>
              <a:gd name="connsiteX17" fmla="*/ 121253 w 801709"/>
              <a:gd name="connsiteY17" fmla="*/ 839560 h 961165"/>
              <a:gd name="connsiteX18" fmla="*/ 85375 w 801709"/>
              <a:gd name="connsiteY18" fmla="*/ 911537 h 961165"/>
              <a:gd name="connsiteX19" fmla="*/ 434629 w 801709"/>
              <a:gd name="connsiteY19" fmla="*/ 827379 h 961165"/>
              <a:gd name="connsiteX20" fmla="*/ 518121 w 801709"/>
              <a:gd name="connsiteY20" fmla="*/ 732813 h 961165"/>
              <a:gd name="connsiteX21" fmla="*/ 682007 w 801709"/>
              <a:gd name="connsiteY21" fmla="*/ 122894 h 9611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801709" h="961165">
                <a:moveTo>
                  <a:pt x="788975" y="1973"/>
                </a:moveTo>
                <a:cubicBezTo>
                  <a:pt x="795841" y="201"/>
                  <a:pt x="801378" y="6181"/>
                  <a:pt x="801378" y="14818"/>
                </a:cubicBezTo>
                <a:cubicBezTo>
                  <a:pt x="801378" y="23677"/>
                  <a:pt x="795841" y="32092"/>
                  <a:pt x="788754" y="33864"/>
                </a:cubicBezTo>
                <a:cubicBezTo>
                  <a:pt x="751769" y="42723"/>
                  <a:pt x="718106" y="80593"/>
                  <a:pt x="705261" y="128209"/>
                </a:cubicBezTo>
                <a:lnTo>
                  <a:pt x="541376" y="738128"/>
                </a:lnTo>
                <a:cubicBezTo>
                  <a:pt x="524987" y="799253"/>
                  <a:pt x="482022" y="847976"/>
                  <a:pt x="434186" y="859271"/>
                </a:cubicBezTo>
                <a:lnTo>
                  <a:pt x="14063" y="960702"/>
                </a:lnTo>
                <a:cubicBezTo>
                  <a:pt x="7198" y="962474"/>
                  <a:pt x="1661" y="956495"/>
                  <a:pt x="1661" y="947636"/>
                </a:cubicBezTo>
                <a:cubicBezTo>
                  <a:pt x="1661" y="938777"/>
                  <a:pt x="7198" y="930361"/>
                  <a:pt x="14285" y="928590"/>
                </a:cubicBezTo>
                <a:cubicBezTo>
                  <a:pt x="51270" y="919731"/>
                  <a:pt x="84933" y="881639"/>
                  <a:pt x="97778" y="834245"/>
                </a:cubicBezTo>
                <a:lnTo>
                  <a:pt x="261663" y="224325"/>
                </a:lnTo>
                <a:cubicBezTo>
                  <a:pt x="278052" y="163201"/>
                  <a:pt x="321016" y="114478"/>
                  <a:pt x="368853" y="103183"/>
                </a:cubicBezTo>
                <a:lnTo>
                  <a:pt x="788975" y="1973"/>
                </a:lnTo>
                <a:close/>
                <a:moveTo>
                  <a:pt x="682007" y="122894"/>
                </a:moveTo>
                <a:cubicBezTo>
                  <a:pt x="689315" y="95653"/>
                  <a:pt x="701939" y="71070"/>
                  <a:pt x="717885" y="50917"/>
                </a:cubicBezTo>
                <a:lnTo>
                  <a:pt x="368631" y="135074"/>
                </a:lnTo>
                <a:cubicBezTo>
                  <a:pt x="331425" y="143933"/>
                  <a:pt x="297984" y="182025"/>
                  <a:pt x="285138" y="229641"/>
                </a:cubicBezTo>
                <a:lnTo>
                  <a:pt x="121253" y="839560"/>
                </a:lnTo>
                <a:cubicBezTo>
                  <a:pt x="113945" y="866800"/>
                  <a:pt x="101321" y="891383"/>
                  <a:pt x="85375" y="911537"/>
                </a:cubicBezTo>
                <a:lnTo>
                  <a:pt x="434629" y="827379"/>
                </a:lnTo>
                <a:cubicBezTo>
                  <a:pt x="471835" y="818521"/>
                  <a:pt x="505276" y="780428"/>
                  <a:pt x="518121" y="732813"/>
                </a:cubicBezTo>
                <a:lnTo>
                  <a:pt x="682007" y="122894"/>
                </a:lnTo>
              </a:path>
            </a:pathLst>
          </a:custGeom>
          <a:gradFill>
            <a:gsLst>
              <a:gs pos="0">
                <a:srgbClr val="FFE682"/>
              </a:gs>
              <a:gs pos="100000">
                <a:srgbClr val="FFC61B"/>
              </a:gs>
            </a:gsLst>
            <a:lin ang="16800000" scaled="0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Полилиния: фигура 22">
            <a:extLst>
              <a:ext uri="{FF2B5EF4-FFF2-40B4-BE49-F238E27FC236}">
                <a16:creationId xmlns="" xmlns:a16="http://schemas.microsoft.com/office/drawing/2014/main" id="{7295CEF5-E2F2-4935-8C14-2D00CD38097E}"/>
              </a:ext>
            </a:extLst>
          </p:cNvPr>
          <p:cNvSpPr/>
          <p:nvPr/>
        </p:nvSpPr>
        <p:spPr>
          <a:xfrm>
            <a:off x="502121" y="5779059"/>
            <a:ext cx="527844" cy="633413"/>
          </a:xfrm>
          <a:custGeom>
            <a:avLst/>
            <a:gdLst>
              <a:gd name="connsiteX0" fmla="*/ 738240 w 758421"/>
              <a:gd name="connsiteY0" fmla="*/ 2377 h 910106"/>
              <a:gd name="connsiteX1" fmla="*/ 757265 w 758421"/>
              <a:gd name="connsiteY1" fmla="*/ 21916 h 910106"/>
              <a:gd name="connsiteX2" fmla="*/ 738240 w 758421"/>
              <a:gd name="connsiteY2" fmla="*/ 50710 h 910106"/>
              <a:gd name="connsiteX3" fmla="*/ 667797 w 758421"/>
              <a:gd name="connsiteY3" fmla="*/ 130152 h 910106"/>
              <a:gd name="connsiteX4" fmla="*/ 516113 w 758421"/>
              <a:gd name="connsiteY4" fmla="*/ 694726 h 910106"/>
              <a:gd name="connsiteX5" fmla="*/ 409933 w 758421"/>
              <a:gd name="connsiteY5" fmla="*/ 814789 h 910106"/>
              <a:gd name="connsiteX6" fmla="*/ 20953 w 758421"/>
              <a:gd name="connsiteY6" fmla="*/ 908370 h 910106"/>
              <a:gd name="connsiteX7" fmla="*/ 1928 w 758421"/>
              <a:gd name="connsiteY7" fmla="*/ 888831 h 910106"/>
              <a:gd name="connsiteX8" fmla="*/ 20953 w 758421"/>
              <a:gd name="connsiteY8" fmla="*/ 860037 h 910106"/>
              <a:gd name="connsiteX9" fmla="*/ 91396 w 758421"/>
              <a:gd name="connsiteY9" fmla="*/ 780595 h 910106"/>
              <a:gd name="connsiteX10" fmla="*/ 243081 w 758421"/>
              <a:gd name="connsiteY10" fmla="*/ 216021 h 910106"/>
              <a:gd name="connsiteX11" fmla="*/ 349260 w 758421"/>
              <a:gd name="connsiteY11" fmla="*/ 95958 h 910106"/>
              <a:gd name="connsiteX12" fmla="*/ 738240 w 758421"/>
              <a:gd name="connsiteY12" fmla="*/ 2377 h 910106"/>
              <a:gd name="connsiteX13" fmla="*/ 632318 w 758421"/>
              <a:gd name="connsiteY13" fmla="*/ 122182 h 910106"/>
              <a:gd name="connsiteX14" fmla="*/ 653914 w 758421"/>
              <a:gd name="connsiteY14" fmla="*/ 71020 h 910106"/>
              <a:gd name="connsiteX15" fmla="*/ 349003 w 758421"/>
              <a:gd name="connsiteY15" fmla="*/ 144292 h 910106"/>
              <a:gd name="connsiteX16" fmla="*/ 278559 w 758421"/>
              <a:gd name="connsiteY16" fmla="*/ 223990 h 910106"/>
              <a:gd name="connsiteX17" fmla="*/ 126875 w 758421"/>
              <a:gd name="connsiteY17" fmla="*/ 788565 h 910106"/>
              <a:gd name="connsiteX18" fmla="*/ 105279 w 758421"/>
              <a:gd name="connsiteY18" fmla="*/ 839727 h 910106"/>
              <a:gd name="connsiteX19" fmla="*/ 410191 w 758421"/>
              <a:gd name="connsiteY19" fmla="*/ 766198 h 910106"/>
              <a:gd name="connsiteX20" fmla="*/ 480634 w 758421"/>
              <a:gd name="connsiteY20" fmla="*/ 686500 h 910106"/>
              <a:gd name="connsiteX21" fmla="*/ 632318 w 758421"/>
              <a:gd name="connsiteY21" fmla="*/ 122182 h 910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758421" h="910106">
                <a:moveTo>
                  <a:pt x="738240" y="2377"/>
                </a:moveTo>
                <a:cubicBezTo>
                  <a:pt x="748781" y="-194"/>
                  <a:pt x="757265" y="8547"/>
                  <a:pt x="757265" y="21916"/>
                </a:cubicBezTo>
                <a:cubicBezTo>
                  <a:pt x="757265" y="35285"/>
                  <a:pt x="748781" y="48139"/>
                  <a:pt x="738240" y="50710"/>
                </a:cubicBezTo>
                <a:cubicBezTo>
                  <a:pt x="707132" y="58166"/>
                  <a:pt x="678852" y="90045"/>
                  <a:pt x="667797" y="130152"/>
                </a:cubicBezTo>
                <a:lnTo>
                  <a:pt x="516113" y="694726"/>
                </a:lnTo>
                <a:cubicBezTo>
                  <a:pt x="499916" y="755143"/>
                  <a:pt x="457238" y="803477"/>
                  <a:pt x="409933" y="814789"/>
                </a:cubicBezTo>
                <a:lnTo>
                  <a:pt x="20953" y="908370"/>
                </a:lnTo>
                <a:cubicBezTo>
                  <a:pt x="10412" y="910941"/>
                  <a:pt x="1928" y="902200"/>
                  <a:pt x="1928" y="888831"/>
                </a:cubicBezTo>
                <a:cubicBezTo>
                  <a:pt x="1928" y="875462"/>
                  <a:pt x="10412" y="862608"/>
                  <a:pt x="20953" y="860037"/>
                </a:cubicBezTo>
                <a:cubicBezTo>
                  <a:pt x="52061" y="852581"/>
                  <a:pt x="80341" y="820702"/>
                  <a:pt x="91396" y="780595"/>
                </a:cubicBezTo>
                <a:lnTo>
                  <a:pt x="243081" y="216021"/>
                </a:lnTo>
                <a:cubicBezTo>
                  <a:pt x="259277" y="155604"/>
                  <a:pt x="301955" y="107270"/>
                  <a:pt x="349260" y="95958"/>
                </a:cubicBezTo>
                <a:lnTo>
                  <a:pt x="738240" y="2377"/>
                </a:lnTo>
                <a:close/>
                <a:moveTo>
                  <a:pt x="632318" y="122182"/>
                </a:moveTo>
                <a:cubicBezTo>
                  <a:pt x="637203" y="103671"/>
                  <a:pt x="644659" y="86446"/>
                  <a:pt x="653914" y="71020"/>
                </a:cubicBezTo>
                <a:lnTo>
                  <a:pt x="349003" y="144292"/>
                </a:lnTo>
                <a:cubicBezTo>
                  <a:pt x="317637" y="151747"/>
                  <a:pt x="289357" y="183884"/>
                  <a:pt x="278559" y="223990"/>
                </a:cubicBezTo>
                <a:lnTo>
                  <a:pt x="126875" y="788565"/>
                </a:lnTo>
                <a:cubicBezTo>
                  <a:pt x="121990" y="807076"/>
                  <a:pt x="114535" y="824301"/>
                  <a:pt x="105279" y="839727"/>
                </a:cubicBezTo>
                <a:lnTo>
                  <a:pt x="410191" y="766198"/>
                </a:lnTo>
                <a:cubicBezTo>
                  <a:pt x="441556" y="758742"/>
                  <a:pt x="469836" y="726606"/>
                  <a:pt x="480634" y="686500"/>
                </a:cubicBezTo>
                <a:lnTo>
                  <a:pt x="632318" y="122182"/>
                </a:lnTo>
              </a:path>
            </a:pathLst>
          </a:custGeom>
          <a:gradFill>
            <a:gsLst>
              <a:gs pos="0">
                <a:srgbClr val="FFE682"/>
              </a:gs>
              <a:gs pos="100000">
                <a:srgbClr val="FFC61B"/>
              </a:gs>
            </a:gsLst>
            <a:lin ang="16800000" scaled="0"/>
          </a:gradFill>
          <a:ln w="9525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2" name="Рисунок 21">
            <a:extLst>
              <a:ext uri="{FF2B5EF4-FFF2-40B4-BE49-F238E27FC236}">
                <a16:creationId xmlns="" xmlns:a16="http://schemas.microsoft.com/office/drawing/2014/main" id="{07F270BF-9874-4903-905D-A8427ACD583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116766" y="5124963"/>
            <a:ext cx="2052000" cy="20338"/>
          </a:xfrm>
          <a:prstGeom prst="rect">
            <a:avLst/>
          </a:prstGeom>
        </p:spPr>
      </p:pic>
      <p:sp>
        <p:nvSpPr>
          <p:cNvPr id="27" name="Подзаголовок 6">
            <a:extLst>
              <a:ext uri="{FF2B5EF4-FFF2-40B4-BE49-F238E27FC236}">
                <a16:creationId xmlns="" xmlns:a16="http://schemas.microsoft.com/office/drawing/2014/main" id="{6560523B-0574-4357-AFDF-675791F16468}"/>
              </a:ext>
            </a:extLst>
          </p:cNvPr>
          <p:cNvSpPr txBox="1">
            <a:spLocks/>
          </p:cNvSpPr>
          <p:nvPr/>
        </p:nvSpPr>
        <p:spPr>
          <a:xfrm>
            <a:off x="3237760" y="4648289"/>
            <a:ext cx="5734595" cy="2498569"/>
          </a:xfrm>
          <a:prstGeom prst="rect">
            <a:avLst/>
          </a:prstGeom>
        </p:spPr>
        <p:txBody>
          <a:bodyPr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</a:pPr>
            <a:r>
              <a:rPr lang="ru-RU" sz="2400" dirty="0">
                <a:solidFill>
                  <a:srgbClr val="3C3837"/>
                </a:solidFill>
              </a:rPr>
              <a:t/>
            </a:r>
            <a:br>
              <a:rPr lang="ru-RU" sz="2400" dirty="0">
                <a:solidFill>
                  <a:srgbClr val="3C3837"/>
                </a:solidFill>
              </a:rPr>
            </a:br>
            <a:endParaRPr lang="ru-RU" sz="2400" dirty="0">
              <a:solidFill>
                <a:srgbClr val="3C3837"/>
              </a:solidFill>
            </a:endParaRPr>
          </a:p>
        </p:txBody>
      </p:sp>
      <p:pic>
        <p:nvPicPr>
          <p:cNvPr id="15" name="Рисунок 14">
            <a:extLst>
              <a:ext uri="{FF2B5EF4-FFF2-40B4-BE49-F238E27FC236}">
                <a16:creationId xmlns="" xmlns:a16="http://schemas.microsoft.com/office/drawing/2014/main" id="{7B332AF8-F27C-4915-8E3B-1297590B41D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116766" y="2301311"/>
            <a:ext cx="2052000" cy="20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10519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89CDE201-9CEB-42C5-9549-6D9ACC95797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rcRect b="1635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="" xmlns:a16="http://schemas.microsoft.com/office/drawing/2014/main" id="{D78768F0-7E36-4677-8F6F-0222994B7FE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Заголовок 1">
            <a:extLst>
              <a:ext uri="{FF2B5EF4-FFF2-40B4-BE49-F238E27FC236}">
                <a16:creationId xmlns="" xmlns:a16="http://schemas.microsoft.com/office/drawing/2014/main" id="{DEBBABF3-26BF-4946-BD71-648CC4ACF14A}"/>
              </a:ext>
            </a:extLst>
          </p:cNvPr>
          <p:cNvSpPr txBox="1">
            <a:spLocks/>
          </p:cNvSpPr>
          <p:nvPr/>
        </p:nvSpPr>
        <p:spPr>
          <a:xfrm>
            <a:off x="1402079" y="2449523"/>
            <a:ext cx="9493045" cy="2387600"/>
          </a:xfrm>
          <a:prstGeom prst="rect">
            <a:avLst/>
          </a:prstGeom>
        </p:spPr>
        <p:txBody>
          <a:bodyPr/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400" b="1" i="0" u="none" strike="noStrike" kern="1200" cap="none" spc="0" normalizeH="0" baseline="0" noProof="0">
                <a:ln>
                  <a:noFill/>
                </a:ln>
                <a:solidFill>
                  <a:srgbClr val="624E33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президентскиегранты.рф</a:t>
            </a:r>
          </a:p>
        </p:txBody>
      </p:sp>
      <p:sp>
        <p:nvSpPr>
          <p:cNvPr id="8" name="Подзаголовок 6">
            <a:extLst>
              <a:ext uri="{FF2B5EF4-FFF2-40B4-BE49-F238E27FC236}">
                <a16:creationId xmlns="" xmlns:a16="http://schemas.microsoft.com/office/drawing/2014/main" id="{E000C5EA-63B6-43F7-A4D3-63F23C7430C4}"/>
              </a:ext>
            </a:extLst>
          </p:cNvPr>
          <p:cNvSpPr txBox="1">
            <a:spLocks/>
          </p:cNvSpPr>
          <p:nvPr/>
        </p:nvSpPr>
        <p:spPr>
          <a:xfrm>
            <a:off x="1576601" y="4103210"/>
            <a:ext cx="9144000" cy="249856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2800" b="0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ffice@pgrants.ru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2800" b="0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+7 (495) 150-42-22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                          </a:t>
            </a:r>
            <a:r>
              <a:rPr kumimoji="0" lang="fr-FR" sz="2800" b="0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/pgrants</a:t>
            </a:r>
          </a:p>
        </p:txBody>
      </p:sp>
      <p:pic>
        <p:nvPicPr>
          <p:cNvPr id="22" name="Рисунок 21">
            <a:extLst>
              <a:ext uri="{FF2B5EF4-FFF2-40B4-BE49-F238E27FC236}">
                <a16:creationId xmlns="" xmlns:a16="http://schemas.microsoft.com/office/drawing/2014/main" id="{07F270BF-9874-4903-905D-A8427ACD583D}"/>
              </a:ext>
            </a:extLst>
          </p:cNvPr>
          <p:cNvPicPr>
            <a:picLocks/>
          </p:cNvPicPr>
          <p:nvPr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170000" y="3646229"/>
            <a:ext cx="3852000" cy="20338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="" xmlns:a16="http://schemas.microsoft.com/office/drawing/2014/main" id="{9DE7AA15-67FB-4C45-A9FA-12707607F93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370677" y="5117428"/>
            <a:ext cx="2181225" cy="482426"/>
          </a:xfrm>
          <a:prstGeom prst="rect">
            <a:avLst/>
          </a:prstGeom>
        </p:spPr>
      </p:pic>
      <p:grpSp>
        <p:nvGrpSpPr>
          <p:cNvPr id="14" name="Группа 13">
            <a:extLst>
              <a:ext uri="{FF2B5EF4-FFF2-40B4-BE49-F238E27FC236}">
                <a16:creationId xmlns="" xmlns:a16="http://schemas.microsoft.com/office/drawing/2014/main" id="{747678CB-2989-45B8-9316-9A6A9AAB11B1}"/>
              </a:ext>
            </a:extLst>
          </p:cNvPr>
          <p:cNvGrpSpPr/>
          <p:nvPr/>
        </p:nvGrpSpPr>
        <p:grpSpPr>
          <a:xfrm>
            <a:off x="787884" y="691830"/>
            <a:ext cx="12712955" cy="8470782"/>
            <a:chOff x="787884" y="691830"/>
            <a:chExt cx="12712955" cy="8470782"/>
          </a:xfrm>
        </p:grpSpPr>
        <p:sp>
          <p:nvSpPr>
            <p:cNvPr id="18" name="Полилиния: фигура 17">
              <a:extLst>
                <a:ext uri="{FF2B5EF4-FFF2-40B4-BE49-F238E27FC236}">
                  <a16:creationId xmlns="" xmlns:a16="http://schemas.microsoft.com/office/drawing/2014/main" id="{E370EBF8-280E-4AA8-AF69-B4B7FAF6456E}"/>
                </a:ext>
              </a:extLst>
            </p:cNvPr>
            <p:cNvSpPr/>
            <p:nvPr/>
          </p:nvSpPr>
          <p:spPr>
            <a:xfrm>
              <a:off x="9236954" y="4070196"/>
              <a:ext cx="4263885" cy="5092416"/>
            </a:xfrm>
            <a:custGeom>
              <a:avLst/>
              <a:gdLst>
                <a:gd name="connsiteX0" fmla="*/ 517080 w 650784"/>
                <a:gd name="connsiteY0" fmla="*/ 34081 h 777240"/>
                <a:gd name="connsiteX1" fmla="*/ 590178 w 650784"/>
                <a:gd name="connsiteY1" fmla="*/ 16501 h 777240"/>
                <a:gd name="connsiteX2" fmla="*/ 649396 w 650784"/>
                <a:gd name="connsiteY2" fmla="*/ 2313 h 777240"/>
                <a:gd name="connsiteX3" fmla="*/ 569822 w 650784"/>
                <a:gd name="connsiteY3" fmla="*/ 92066 h 777240"/>
                <a:gd name="connsiteX4" fmla="*/ 432880 w 650784"/>
                <a:gd name="connsiteY4" fmla="*/ 601590 h 777240"/>
                <a:gd name="connsiteX5" fmla="*/ 353305 w 650784"/>
                <a:gd name="connsiteY5" fmla="*/ 691651 h 777240"/>
                <a:gd name="connsiteX6" fmla="*/ 123834 w 650784"/>
                <a:gd name="connsiteY6" fmla="*/ 746860 h 777240"/>
                <a:gd name="connsiteX7" fmla="*/ 61223 w 650784"/>
                <a:gd name="connsiteY7" fmla="*/ 761973 h 777240"/>
                <a:gd name="connsiteX8" fmla="*/ 2313 w 650784"/>
                <a:gd name="connsiteY8" fmla="*/ 776161 h 777240"/>
                <a:gd name="connsiteX9" fmla="*/ 81888 w 650784"/>
                <a:gd name="connsiteY9" fmla="*/ 686408 h 777240"/>
                <a:gd name="connsiteX10" fmla="*/ 218830 w 650784"/>
                <a:gd name="connsiteY10" fmla="*/ 176884 h 777240"/>
                <a:gd name="connsiteX11" fmla="*/ 298405 w 650784"/>
                <a:gd name="connsiteY11" fmla="*/ 86823 h 777240"/>
                <a:gd name="connsiteX12" fmla="*/ 517080 w 650784"/>
                <a:gd name="connsiteY12" fmla="*/ 34081 h 777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0784" h="777240">
                  <a:moveTo>
                    <a:pt x="517080" y="34081"/>
                  </a:moveTo>
                  <a:lnTo>
                    <a:pt x="590178" y="16501"/>
                  </a:lnTo>
                  <a:lnTo>
                    <a:pt x="649396" y="2313"/>
                  </a:lnTo>
                  <a:cubicBezTo>
                    <a:pt x="613927" y="10949"/>
                    <a:pt x="582159" y="46727"/>
                    <a:pt x="569822" y="92066"/>
                  </a:cubicBezTo>
                  <a:lnTo>
                    <a:pt x="432880" y="601590"/>
                  </a:lnTo>
                  <a:cubicBezTo>
                    <a:pt x="420542" y="647238"/>
                    <a:pt x="388774" y="683015"/>
                    <a:pt x="353305" y="691651"/>
                  </a:cubicBezTo>
                  <a:lnTo>
                    <a:pt x="123834" y="746860"/>
                  </a:lnTo>
                  <a:lnTo>
                    <a:pt x="61223" y="761973"/>
                  </a:lnTo>
                  <a:lnTo>
                    <a:pt x="2313" y="776161"/>
                  </a:lnTo>
                  <a:cubicBezTo>
                    <a:pt x="37783" y="767525"/>
                    <a:pt x="69551" y="731747"/>
                    <a:pt x="81888" y="686408"/>
                  </a:cubicBezTo>
                  <a:lnTo>
                    <a:pt x="218830" y="176884"/>
                  </a:lnTo>
                  <a:cubicBezTo>
                    <a:pt x="231167" y="131236"/>
                    <a:pt x="262935" y="95459"/>
                    <a:pt x="298405" y="86823"/>
                  </a:cubicBezTo>
                  <a:lnTo>
                    <a:pt x="517080" y="34081"/>
                  </a:lnTo>
                  <a:close/>
                </a:path>
              </a:pathLst>
            </a:custGeom>
            <a:gradFill>
              <a:gsLst>
                <a:gs pos="0">
                  <a:srgbClr val="FFE682"/>
                </a:gs>
                <a:gs pos="100000">
                  <a:srgbClr val="FFC61B"/>
                </a:gs>
              </a:gsLst>
              <a:lin ang="16800000" scaled="0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Полилиния: фигура 19">
              <a:extLst>
                <a:ext uri="{FF2B5EF4-FFF2-40B4-BE49-F238E27FC236}">
                  <a16:creationId xmlns="" xmlns:a16="http://schemas.microsoft.com/office/drawing/2014/main" id="{C9508A02-FBA8-4C76-BD5B-75D5EF1FDF94}"/>
                </a:ext>
              </a:extLst>
            </p:cNvPr>
            <p:cNvSpPr/>
            <p:nvPr/>
          </p:nvSpPr>
          <p:spPr>
            <a:xfrm>
              <a:off x="787884" y="1613689"/>
              <a:ext cx="801710" cy="961166"/>
            </a:xfrm>
            <a:custGeom>
              <a:avLst/>
              <a:gdLst>
                <a:gd name="connsiteX0" fmla="*/ 788975 w 801709"/>
                <a:gd name="connsiteY0" fmla="*/ 1973 h 961165"/>
                <a:gd name="connsiteX1" fmla="*/ 801378 w 801709"/>
                <a:gd name="connsiteY1" fmla="*/ 14818 h 961165"/>
                <a:gd name="connsiteX2" fmla="*/ 788754 w 801709"/>
                <a:gd name="connsiteY2" fmla="*/ 33864 h 961165"/>
                <a:gd name="connsiteX3" fmla="*/ 705261 w 801709"/>
                <a:gd name="connsiteY3" fmla="*/ 128209 h 961165"/>
                <a:gd name="connsiteX4" fmla="*/ 541376 w 801709"/>
                <a:gd name="connsiteY4" fmla="*/ 738128 h 961165"/>
                <a:gd name="connsiteX5" fmla="*/ 434186 w 801709"/>
                <a:gd name="connsiteY5" fmla="*/ 859271 h 961165"/>
                <a:gd name="connsiteX6" fmla="*/ 14063 w 801709"/>
                <a:gd name="connsiteY6" fmla="*/ 960702 h 961165"/>
                <a:gd name="connsiteX7" fmla="*/ 1661 w 801709"/>
                <a:gd name="connsiteY7" fmla="*/ 947636 h 961165"/>
                <a:gd name="connsiteX8" fmla="*/ 14285 w 801709"/>
                <a:gd name="connsiteY8" fmla="*/ 928590 h 961165"/>
                <a:gd name="connsiteX9" fmla="*/ 97778 w 801709"/>
                <a:gd name="connsiteY9" fmla="*/ 834245 h 961165"/>
                <a:gd name="connsiteX10" fmla="*/ 261663 w 801709"/>
                <a:gd name="connsiteY10" fmla="*/ 224325 h 961165"/>
                <a:gd name="connsiteX11" fmla="*/ 368853 w 801709"/>
                <a:gd name="connsiteY11" fmla="*/ 103183 h 961165"/>
                <a:gd name="connsiteX12" fmla="*/ 788975 w 801709"/>
                <a:gd name="connsiteY12" fmla="*/ 1973 h 961165"/>
                <a:gd name="connsiteX13" fmla="*/ 682007 w 801709"/>
                <a:gd name="connsiteY13" fmla="*/ 122894 h 961165"/>
                <a:gd name="connsiteX14" fmla="*/ 717885 w 801709"/>
                <a:gd name="connsiteY14" fmla="*/ 50917 h 961165"/>
                <a:gd name="connsiteX15" fmla="*/ 368631 w 801709"/>
                <a:gd name="connsiteY15" fmla="*/ 135074 h 961165"/>
                <a:gd name="connsiteX16" fmla="*/ 285138 w 801709"/>
                <a:gd name="connsiteY16" fmla="*/ 229641 h 961165"/>
                <a:gd name="connsiteX17" fmla="*/ 121253 w 801709"/>
                <a:gd name="connsiteY17" fmla="*/ 839560 h 961165"/>
                <a:gd name="connsiteX18" fmla="*/ 85375 w 801709"/>
                <a:gd name="connsiteY18" fmla="*/ 911537 h 961165"/>
                <a:gd name="connsiteX19" fmla="*/ 434629 w 801709"/>
                <a:gd name="connsiteY19" fmla="*/ 827379 h 961165"/>
                <a:gd name="connsiteX20" fmla="*/ 518121 w 801709"/>
                <a:gd name="connsiteY20" fmla="*/ 732813 h 961165"/>
                <a:gd name="connsiteX21" fmla="*/ 682007 w 801709"/>
                <a:gd name="connsiteY21" fmla="*/ 122894 h 961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801709" h="961165">
                  <a:moveTo>
                    <a:pt x="788975" y="1973"/>
                  </a:moveTo>
                  <a:cubicBezTo>
                    <a:pt x="795841" y="201"/>
                    <a:pt x="801378" y="6181"/>
                    <a:pt x="801378" y="14818"/>
                  </a:cubicBezTo>
                  <a:cubicBezTo>
                    <a:pt x="801378" y="23677"/>
                    <a:pt x="795841" y="32092"/>
                    <a:pt x="788754" y="33864"/>
                  </a:cubicBezTo>
                  <a:cubicBezTo>
                    <a:pt x="751769" y="42723"/>
                    <a:pt x="718106" y="80593"/>
                    <a:pt x="705261" y="128209"/>
                  </a:cubicBezTo>
                  <a:lnTo>
                    <a:pt x="541376" y="738128"/>
                  </a:lnTo>
                  <a:cubicBezTo>
                    <a:pt x="524987" y="799253"/>
                    <a:pt x="482022" y="847976"/>
                    <a:pt x="434186" y="859271"/>
                  </a:cubicBezTo>
                  <a:lnTo>
                    <a:pt x="14063" y="960702"/>
                  </a:lnTo>
                  <a:cubicBezTo>
                    <a:pt x="7198" y="962474"/>
                    <a:pt x="1661" y="956495"/>
                    <a:pt x="1661" y="947636"/>
                  </a:cubicBezTo>
                  <a:cubicBezTo>
                    <a:pt x="1661" y="938777"/>
                    <a:pt x="7198" y="930361"/>
                    <a:pt x="14285" y="928590"/>
                  </a:cubicBezTo>
                  <a:cubicBezTo>
                    <a:pt x="51270" y="919731"/>
                    <a:pt x="84933" y="881639"/>
                    <a:pt x="97778" y="834245"/>
                  </a:cubicBezTo>
                  <a:lnTo>
                    <a:pt x="261663" y="224325"/>
                  </a:lnTo>
                  <a:cubicBezTo>
                    <a:pt x="278052" y="163201"/>
                    <a:pt x="321016" y="114478"/>
                    <a:pt x="368853" y="103183"/>
                  </a:cubicBezTo>
                  <a:lnTo>
                    <a:pt x="788975" y="1973"/>
                  </a:lnTo>
                  <a:close/>
                  <a:moveTo>
                    <a:pt x="682007" y="122894"/>
                  </a:moveTo>
                  <a:cubicBezTo>
                    <a:pt x="689315" y="95653"/>
                    <a:pt x="701939" y="71070"/>
                    <a:pt x="717885" y="50917"/>
                  </a:cubicBezTo>
                  <a:lnTo>
                    <a:pt x="368631" y="135074"/>
                  </a:lnTo>
                  <a:cubicBezTo>
                    <a:pt x="331425" y="143933"/>
                    <a:pt x="297984" y="182025"/>
                    <a:pt x="285138" y="229641"/>
                  </a:cubicBezTo>
                  <a:lnTo>
                    <a:pt x="121253" y="839560"/>
                  </a:lnTo>
                  <a:cubicBezTo>
                    <a:pt x="113945" y="866800"/>
                    <a:pt x="101321" y="891383"/>
                    <a:pt x="85375" y="911537"/>
                  </a:cubicBezTo>
                  <a:lnTo>
                    <a:pt x="434629" y="827379"/>
                  </a:lnTo>
                  <a:cubicBezTo>
                    <a:pt x="471835" y="818521"/>
                    <a:pt x="505276" y="780428"/>
                    <a:pt x="518121" y="732813"/>
                  </a:cubicBezTo>
                  <a:lnTo>
                    <a:pt x="682007" y="122894"/>
                  </a:lnTo>
                </a:path>
              </a:pathLst>
            </a:custGeom>
            <a:gradFill>
              <a:gsLst>
                <a:gs pos="0">
                  <a:srgbClr val="FFE682"/>
                </a:gs>
                <a:gs pos="100000">
                  <a:srgbClr val="FFC61B"/>
                </a:gs>
              </a:gsLst>
              <a:lin ang="16800000" scaled="0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Полилиния: фигура 20">
              <a:extLst>
                <a:ext uri="{FF2B5EF4-FFF2-40B4-BE49-F238E27FC236}">
                  <a16:creationId xmlns="" xmlns:a16="http://schemas.microsoft.com/office/drawing/2014/main" id="{14FFF594-66C9-40F4-A15B-8DA8D8C5EAC3}"/>
                </a:ext>
              </a:extLst>
            </p:cNvPr>
            <p:cNvSpPr/>
            <p:nvPr/>
          </p:nvSpPr>
          <p:spPr>
            <a:xfrm>
              <a:off x="1101219" y="980586"/>
              <a:ext cx="1075951" cy="1285023"/>
            </a:xfrm>
            <a:custGeom>
              <a:avLst/>
              <a:gdLst>
                <a:gd name="connsiteX0" fmla="*/ 517080 w 650784"/>
                <a:gd name="connsiteY0" fmla="*/ 34081 h 777240"/>
                <a:gd name="connsiteX1" fmla="*/ 590178 w 650784"/>
                <a:gd name="connsiteY1" fmla="*/ 16501 h 777240"/>
                <a:gd name="connsiteX2" fmla="*/ 649396 w 650784"/>
                <a:gd name="connsiteY2" fmla="*/ 2313 h 777240"/>
                <a:gd name="connsiteX3" fmla="*/ 569822 w 650784"/>
                <a:gd name="connsiteY3" fmla="*/ 92066 h 777240"/>
                <a:gd name="connsiteX4" fmla="*/ 432880 w 650784"/>
                <a:gd name="connsiteY4" fmla="*/ 601590 h 777240"/>
                <a:gd name="connsiteX5" fmla="*/ 353305 w 650784"/>
                <a:gd name="connsiteY5" fmla="*/ 691651 h 777240"/>
                <a:gd name="connsiteX6" fmla="*/ 123834 w 650784"/>
                <a:gd name="connsiteY6" fmla="*/ 746860 h 777240"/>
                <a:gd name="connsiteX7" fmla="*/ 61223 w 650784"/>
                <a:gd name="connsiteY7" fmla="*/ 761973 h 777240"/>
                <a:gd name="connsiteX8" fmla="*/ 2313 w 650784"/>
                <a:gd name="connsiteY8" fmla="*/ 776161 h 777240"/>
                <a:gd name="connsiteX9" fmla="*/ 81888 w 650784"/>
                <a:gd name="connsiteY9" fmla="*/ 686408 h 777240"/>
                <a:gd name="connsiteX10" fmla="*/ 218830 w 650784"/>
                <a:gd name="connsiteY10" fmla="*/ 176884 h 777240"/>
                <a:gd name="connsiteX11" fmla="*/ 298405 w 650784"/>
                <a:gd name="connsiteY11" fmla="*/ 86823 h 777240"/>
                <a:gd name="connsiteX12" fmla="*/ 517080 w 650784"/>
                <a:gd name="connsiteY12" fmla="*/ 34081 h 777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0784" h="777240">
                  <a:moveTo>
                    <a:pt x="517080" y="34081"/>
                  </a:moveTo>
                  <a:lnTo>
                    <a:pt x="590178" y="16501"/>
                  </a:lnTo>
                  <a:lnTo>
                    <a:pt x="649396" y="2313"/>
                  </a:lnTo>
                  <a:cubicBezTo>
                    <a:pt x="613927" y="10949"/>
                    <a:pt x="582159" y="46727"/>
                    <a:pt x="569822" y="92066"/>
                  </a:cubicBezTo>
                  <a:lnTo>
                    <a:pt x="432880" y="601590"/>
                  </a:lnTo>
                  <a:cubicBezTo>
                    <a:pt x="420542" y="647238"/>
                    <a:pt x="388774" y="683015"/>
                    <a:pt x="353305" y="691651"/>
                  </a:cubicBezTo>
                  <a:lnTo>
                    <a:pt x="123834" y="746860"/>
                  </a:lnTo>
                  <a:lnTo>
                    <a:pt x="61223" y="761973"/>
                  </a:lnTo>
                  <a:lnTo>
                    <a:pt x="2313" y="776161"/>
                  </a:lnTo>
                  <a:cubicBezTo>
                    <a:pt x="37783" y="767525"/>
                    <a:pt x="69551" y="731747"/>
                    <a:pt x="81888" y="686408"/>
                  </a:cubicBezTo>
                  <a:lnTo>
                    <a:pt x="218830" y="176884"/>
                  </a:lnTo>
                  <a:cubicBezTo>
                    <a:pt x="231167" y="131236"/>
                    <a:pt x="262935" y="95459"/>
                    <a:pt x="298405" y="86823"/>
                  </a:cubicBezTo>
                  <a:lnTo>
                    <a:pt x="517080" y="34081"/>
                  </a:lnTo>
                  <a:close/>
                </a:path>
              </a:pathLst>
            </a:custGeom>
            <a:gradFill>
              <a:gsLst>
                <a:gs pos="0">
                  <a:srgbClr val="FFE682"/>
                </a:gs>
                <a:gs pos="100000">
                  <a:srgbClr val="FFC61B"/>
                </a:gs>
              </a:gsLst>
              <a:lin ang="16800000" scaled="0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Полилиния: фигура 23">
              <a:extLst>
                <a:ext uri="{FF2B5EF4-FFF2-40B4-BE49-F238E27FC236}">
                  <a16:creationId xmlns="" xmlns:a16="http://schemas.microsoft.com/office/drawing/2014/main" id="{35C5336B-F431-46E1-8EB1-BB94816076DF}"/>
                </a:ext>
              </a:extLst>
            </p:cNvPr>
            <p:cNvSpPr/>
            <p:nvPr/>
          </p:nvSpPr>
          <p:spPr>
            <a:xfrm>
              <a:off x="10335744" y="691830"/>
              <a:ext cx="858778" cy="1029585"/>
            </a:xfrm>
            <a:custGeom>
              <a:avLst/>
              <a:gdLst>
                <a:gd name="connsiteX0" fmla="*/ 788975 w 801709"/>
                <a:gd name="connsiteY0" fmla="*/ 1973 h 961165"/>
                <a:gd name="connsiteX1" fmla="*/ 801378 w 801709"/>
                <a:gd name="connsiteY1" fmla="*/ 14818 h 961165"/>
                <a:gd name="connsiteX2" fmla="*/ 788754 w 801709"/>
                <a:gd name="connsiteY2" fmla="*/ 33864 h 961165"/>
                <a:gd name="connsiteX3" fmla="*/ 705261 w 801709"/>
                <a:gd name="connsiteY3" fmla="*/ 128209 h 961165"/>
                <a:gd name="connsiteX4" fmla="*/ 541376 w 801709"/>
                <a:gd name="connsiteY4" fmla="*/ 738128 h 961165"/>
                <a:gd name="connsiteX5" fmla="*/ 434186 w 801709"/>
                <a:gd name="connsiteY5" fmla="*/ 859271 h 961165"/>
                <a:gd name="connsiteX6" fmla="*/ 14063 w 801709"/>
                <a:gd name="connsiteY6" fmla="*/ 960702 h 961165"/>
                <a:gd name="connsiteX7" fmla="*/ 1661 w 801709"/>
                <a:gd name="connsiteY7" fmla="*/ 947636 h 961165"/>
                <a:gd name="connsiteX8" fmla="*/ 14285 w 801709"/>
                <a:gd name="connsiteY8" fmla="*/ 928590 h 961165"/>
                <a:gd name="connsiteX9" fmla="*/ 97778 w 801709"/>
                <a:gd name="connsiteY9" fmla="*/ 834245 h 961165"/>
                <a:gd name="connsiteX10" fmla="*/ 261663 w 801709"/>
                <a:gd name="connsiteY10" fmla="*/ 224325 h 961165"/>
                <a:gd name="connsiteX11" fmla="*/ 368853 w 801709"/>
                <a:gd name="connsiteY11" fmla="*/ 103183 h 961165"/>
                <a:gd name="connsiteX12" fmla="*/ 788975 w 801709"/>
                <a:gd name="connsiteY12" fmla="*/ 1973 h 961165"/>
                <a:gd name="connsiteX13" fmla="*/ 682007 w 801709"/>
                <a:gd name="connsiteY13" fmla="*/ 122894 h 961165"/>
                <a:gd name="connsiteX14" fmla="*/ 717885 w 801709"/>
                <a:gd name="connsiteY14" fmla="*/ 50917 h 961165"/>
                <a:gd name="connsiteX15" fmla="*/ 368631 w 801709"/>
                <a:gd name="connsiteY15" fmla="*/ 135074 h 961165"/>
                <a:gd name="connsiteX16" fmla="*/ 285138 w 801709"/>
                <a:gd name="connsiteY16" fmla="*/ 229641 h 961165"/>
                <a:gd name="connsiteX17" fmla="*/ 121253 w 801709"/>
                <a:gd name="connsiteY17" fmla="*/ 839560 h 961165"/>
                <a:gd name="connsiteX18" fmla="*/ 85375 w 801709"/>
                <a:gd name="connsiteY18" fmla="*/ 911537 h 961165"/>
                <a:gd name="connsiteX19" fmla="*/ 434629 w 801709"/>
                <a:gd name="connsiteY19" fmla="*/ 827379 h 961165"/>
                <a:gd name="connsiteX20" fmla="*/ 518121 w 801709"/>
                <a:gd name="connsiteY20" fmla="*/ 732813 h 961165"/>
                <a:gd name="connsiteX21" fmla="*/ 682007 w 801709"/>
                <a:gd name="connsiteY21" fmla="*/ 122894 h 961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801709" h="961165">
                  <a:moveTo>
                    <a:pt x="788975" y="1973"/>
                  </a:moveTo>
                  <a:cubicBezTo>
                    <a:pt x="795841" y="201"/>
                    <a:pt x="801378" y="6181"/>
                    <a:pt x="801378" y="14818"/>
                  </a:cubicBezTo>
                  <a:cubicBezTo>
                    <a:pt x="801378" y="23677"/>
                    <a:pt x="795841" y="32092"/>
                    <a:pt x="788754" y="33864"/>
                  </a:cubicBezTo>
                  <a:cubicBezTo>
                    <a:pt x="751769" y="42723"/>
                    <a:pt x="718106" y="80593"/>
                    <a:pt x="705261" y="128209"/>
                  </a:cubicBezTo>
                  <a:lnTo>
                    <a:pt x="541376" y="738128"/>
                  </a:lnTo>
                  <a:cubicBezTo>
                    <a:pt x="524987" y="799253"/>
                    <a:pt x="482022" y="847976"/>
                    <a:pt x="434186" y="859271"/>
                  </a:cubicBezTo>
                  <a:lnTo>
                    <a:pt x="14063" y="960702"/>
                  </a:lnTo>
                  <a:cubicBezTo>
                    <a:pt x="7198" y="962474"/>
                    <a:pt x="1661" y="956495"/>
                    <a:pt x="1661" y="947636"/>
                  </a:cubicBezTo>
                  <a:cubicBezTo>
                    <a:pt x="1661" y="938777"/>
                    <a:pt x="7198" y="930361"/>
                    <a:pt x="14285" y="928590"/>
                  </a:cubicBezTo>
                  <a:cubicBezTo>
                    <a:pt x="51270" y="919731"/>
                    <a:pt x="84933" y="881639"/>
                    <a:pt x="97778" y="834245"/>
                  </a:cubicBezTo>
                  <a:lnTo>
                    <a:pt x="261663" y="224325"/>
                  </a:lnTo>
                  <a:cubicBezTo>
                    <a:pt x="278052" y="163201"/>
                    <a:pt x="321016" y="114478"/>
                    <a:pt x="368853" y="103183"/>
                  </a:cubicBezTo>
                  <a:lnTo>
                    <a:pt x="788975" y="1973"/>
                  </a:lnTo>
                  <a:close/>
                  <a:moveTo>
                    <a:pt x="682007" y="122894"/>
                  </a:moveTo>
                  <a:cubicBezTo>
                    <a:pt x="689315" y="95653"/>
                    <a:pt x="701939" y="71070"/>
                    <a:pt x="717885" y="50917"/>
                  </a:cubicBezTo>
                  <a:lnTo>
                    <a:pt x="368631" y="135074"/>
                  </a:lnTo>
                  <a:cubicBezTo>
                    <a:pt x="331425" y="143933"/>
                    <a:pt x="297984" y="182025"/>
                    <a:pt x="285138" y="229641"/>
                  </a:cubicBezTo>
                  <a:lnTo>
                    <a:pt x="121253" y="839560"/>
                  </a:lnTo>
                  <a:cubicBezTo>
                    <a:pt x="113945" y="866800"/>
                    <a:pt x="101321" y="891383"/>
                    <a:pt x="85375" y="911537"/>
                  </a:cubicBezTo>
                  <a:lnTo>
                    <a:pt x="434629" y="827379"/>
                  </a:lnTo>
                  <a:cubicBezTo>
                    <a:pt x="471835" y="818521"/>
                    <a:pt x="505276" y="780428"/>
                    <a:pt x="518121" y="732813"/>
                  </a:cubicBezTo>
                  <a:lnTo>
                    <a:pt x="682007" y="122894"/>
                  </a:lnTo>
                </a:path>
              </a:pathLst>
            </a:custGeom>
            <a:gradFill>
              <a:gsLst>
                <a:gs pos="0">
                  <a:srgbClr val="FFE682"/>
                </a:gs>
                <a:gs pos="100000">
                  <a:srgbClr val="FFC61B"/>
                </a:gs>
              </a:gsLst>
              <a:lin ang="16800000" scaled="0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Полилиния: фигура 24">
              <a:extLst>
                <a:ext uri="{FF2B5EF4-FFF2-40B4-BE49-F238E27FC236}">
                  <a16:creationId xmlns="" xmlns:a16="http://schemas.microsoft.com/office/drawing/2014/main" id="{10E478BD-739A-49B0-BE7C-F7B7D05B5D5C}"/>
                </a:ext>
              </a:extLst>
            </p:cNvPr>
            <p:cNvSpPr/>
            <p:nvPr/>
          </p:nvSpPr>
          <p:spPr>
            <a:xfrm>
              <a:off x="1962271" y="5314924"/>
              <a:ext cx="527844" cy="633413"/>
            </a:xfrm>
            <a:custGeom>
              <a:avLst/>
              <a:gdLst>
                <a:gd name="connsiteX0" fmla="*/ 738240 w 758421"/>
                <a:gd name="connsiteY0" fmla="*/ 2377 h 910106"/>
                <a:gd name="connsiteX1" fmla="*/ 757265 w 758421"/>
                <a:gd name="connsiteY1" fmla="*/ 21916 h 910106"/>
                <a:gd name="connsiteX2" fmla="*/ 738240 w 758421"/>
                <a:gd name="connsiteY2" fmla="*/ 50710 h 910106"/>
                <a:gd name="connsiteX3" fmla="*/ 667797 w 758421"/>
                <a:gd name="connsiteY3" fmla="*/ 130152 h 910106"/>
                <a:gd name="connsiteX4" fmla="*/ 516113 w 758421"/>
                <a:gd name="connsiteY4" fmla="*/ 694726 h 910106"/>
                <a:gd name="connsiteX5" fmla="*/ 409933 w 758421"/>
                <a:gd name="connsiteY5" fmla="*/ 814789 h 910106"/>
                <a:gd name="connsiteX6" fmla="*/ 20953 w 758421"/>
                <a:gd name="connsiteY6" fmla="*/ 908370 h 910106"/>
                <a:gd name="connsiteX7" fmla="*/ 1928 w 758421"/>
                <a:gd name="connsiteY7" fmla="*/ 888831 h 910106"/>
                <a:gd name="connsiteX8" fmla="*/ 20953 w 758421"/>
                <a:gd name="connsiteY8" fmla="*/ 860037 h 910106"/>
                <a:gd name="connsiteX9" fmla="*/ 91396 w 758421"/>
                <a:gd name="connsiteY9" fmla="*/ 780595 h 910106"/>
                <a:gd name="connsiteX10" fmla="*/ 243081 w 758421"/>
                <a:gd name="connsiteY10" fmla="*/ 216021 h 910106"/>
                <a:gd name="connsiteX11" fmla="*/ 349260 w 758421"/>
                <a:gd name="connsiteY11" fmla="*/ 95958 h 910106"/>
                <a:gd name="connsiteX12" fmla="*/ 738240 w 758421"/>
                <a:gd name="connsiteY12" fmla="*/ 2377 h 910106"/>
                <a:gd name="connsiteX13" fmla="*/ 632318 w 758421"/>
                <a:gd name="connsiteY13" fmla="*/ 122182 h 910106"/>
                <a:gd name="connsiteX14" fmla="*/ 653914 w 758421"/>
                <a:gd name="connsiteY14" fmla="*/ 71020 h 910106"/>
                <a:gd name="connsiteX15" fmla="*/ 349003 w 758421"/>
                <a:gd name="connsiteY15" fmla="*/ 144292 h 910106"/>
                <a:gd name="connsiteX16" fmla="*/ 278559 w 758421"/>
                <a:gd name="connsiteY16" fmla="*/ 223990 h 910106"/>
                <a:gd name="connsiteX17" fmla="*/ 126875 w 758421"/>
                <a:gd name="connsiteY17" fmla="*/ 788565 h 910106"/>
                <a:gd name="connsiteX18" fmla="*/ 105279 w 758421"/>
                <a:gd name="connsiteY18" fmla="*/ 839727 h 910106"/>
                <a:gd name="connsiteX19" fmla="*/ 410191 w 758421"/>
                <a:gd name="connsiteY19" fmla="*/ 766198 h 910106"/>
                <a:gd name="connsiteX20" fmla="*/ 480634 w 758421"/>
                <a:gd name="connsiteY20" fmla="*/ 686500 h 910106"/>
                <a:gd name="connsiteX21" fmla="*/ 632318 w 758421"/>
                <a:gd name="connsiteY21" fmla="*/ 122182 h 910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758421" h="910106">
                  <a:moveTo>
                    <a:pt x="738240" y="2377"/>
                  </a:moveTo>
                  <a:cubicBezTo>
                    <a:pt x="748781" y="-194"/>
                    <a:pt x="757265" y="8547"/>
                    <a:pt x="757265" y="21916"/>
                  </a:cubicBezTo>
                  <a:cubicBezTo>
                    <a:pt x="757265" y="35285"/>
                    <a:pt x="748781" y="48139"/>
                    <a:pt x="738240" y="50710"/>
                  </a:cubicBezTo>
                  <a:cubicBezTo>
                    <a:pt x="707132" y="58166"/>
                    <a:pt x="678852" y="90045"/>
                    <a:pt x="667797" y="130152"/>
                  </a:cubicBezTo>
                  <a:lnTo>
                    <a:pt x="516113" y="694726"/>
                  </a:lnTo>
                  <a:cubicBezTo>
                    <a:pt x="499916" y="755143"/>
                    <a:pt x="457238" y="803477"/>
                    <a:pt x="409933" y="814789"/>
                  </a:cubicBezTo>
                  <a:lnTo>
                    <a:pt x="20953" y="908370"/>
                  </a:lnTo>
                  <a:cubicBezTo>
                    <a:pt x="10412" y="910941"/>
                    <a:pt x="1928" y="902200"/>
                    <a:pt x="1928" y="888831"/>
                  </a:cubicBezTo>
                  <a:cubicBezTo>
                    <a:pt x="1928" y="875462"/>
                    <a:pt x="10412" y="862608"/>
                    <a:pt x="20953" y="860037"/>
                  </a:cubicBezTo>
                  <a:cubicBezTo>
                    <a:pt x="52061" y="852581"/>
                    <a:pt x="80341" y="820702"/>
                    <a:pt x="91396" y="780595"/>
                  </a:cubicBezTo>
                  <a:lnTo>
                    <a:pt x="243081" y="216021"/>
                  </a:lnTo>
                  <a:cubicBezTo>
                    <a:pt x="259277" y="155604"/>
                    <a:pt x="301955" y="107270"/>
                    <a:pt x="349260" y="95958"/>
                  </a:cubicBezTo>
                  <a:lnTo>
                    <a:pt x="738240" y="2377"/>
                  </a:lnTo>
                  <a:close/>
                  <a:moveTo>
                    <a:pt x="632318" y="122182"/>
                  </a:moveTo>
                  <a:cubicBezTo>
                    <a:pt x="637203" y="103671"/>
                    <a:pt x="644659" y="86446"/>
                    <a:pt x="653914" y="71020"/>
                  </a:cubicBezTo>
                  <a:lnTo>
                    <a:pt x="349003" y="144292"/>
                  </a:lnTo>
                  <a:cubicBezTo>
                    <a:pt x="317637" y="151747"/>
                    <a:pt x="289357" y="183884"/>
                    <a:pt x="278559" y="223990"/>
                  </a:cubicBezTo>
                  <a:lnTo>
                    <a:pt x="126875" y="788565"/>
                  </a:lnTo>
                  <a:cubicBezTo>
                    <a:pt x="121990" y="807076"/>
                    <a:pt x="114535" y="824301"/>
                    <a:pt x="105279" y="839727"/>
                  </a:cubicBezTo>
                  <a:lnTo>
                    <a:pt x="410191" y="766198"/>
                  </a:lnTo>
                  <a:cubicBezTo>
                    <a:pt x="441556" y="758742"/>
                    <a:pt x="469836" y="726606"/>
                    <a:pt x="480634" y="686500"/>
                  </a:cubicBezTo>
                  <a:lnTo>
                    <a:pt x="632318" y="122182"/>
                  </a:lnTo>
                </a:path>
              </a:pathLst>
            </a:custGeom>
            <a:gradFill>
              <a:gsLst>
                <a:gs pos="0">
                  <a:srgbClr val="FFE682"/>
                </a:gs>
                <a:gs pos="100000">
                  <a:srgbClr val="FFC61B"/>
                </a:gs>
              </a:gsLst>
              <a:lin ang="16800000" scaled="0"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15" name="Рисунок 14">
            <a:extLst>
              <a:ext uri="{FF2B5EF4-FFF2-40B4-BE49-F238E27FC236}">
                <a16:creationId xmlns="" xmlns:a16="http://schemas.microsoft.com/office/drawing/2014/main" id="{253D86F7-19D1-45E4-8986-7A2E9972EE3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763501" y="472341"/>
            <a:ext cx="2635970" cy="892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79087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Полилиния: фигура 22">
            <a:extLst>
              <a:ext uri="{FF2B5EF4-FFF2-40B4-BE49-F238E27FC236}">
                <a16:creationId xmlns="" xmlns:a16="http://schemas.microsoft.com/office/drawing/2014/main" id="{7295CEF5-E2F2-4935-8C14-2D00CD38097E}"/>
              </a:ext>
            </a:extLst>
          </p:cNvPr>
          <p:cNvSpPr/>
          <p:nvPr/>
        </p:nvSpPr>
        <p:spPr>
          <a:xfrm>
            <a:off x="3395199" y="5750891"/>
            <a:ext cx="527844" cy="633413"/>
          </a:xfrm>
          <a:custGeom>
            <a:avLst/>
            <a:gdLst>
              <a:gd name="connsiteX0" fmla="*/ 738240 w 758421"/>
              <a:gd name="connsiteY0" fmla="*/ 2377 h 910106"/>
              <a:gd name="connsiteX1" fmla="*/ 757265 w 758421"/>
              <a:gd name="connsiteY1" fmla="*/ 21916 h 910106"/>
              <a:gd name="connsiteX2" fmla="*/ 738240 w 758421"/>
              <a:gd name="connsiteY2" fmla="*/ 50710 h 910106"/>
              <a:gd name="connsiteX3" fmla="*/ 667797 w 758421"/>
              <a:gd name="connsiteY3" fmla="*/ 130152 h 910106"/>
              <a:gd name="connsiteX4" fmla="*/ 516113 w 758421"/>
              <a:gd name="connsiteY4" fmla="*/ 694726 h 910106"/>
              <a:gd name="connsiteX5" fmla="*/ 409933 w 758421"/>
              <a:gd name="connsiteY5" fmla="*/ 814789 h 910106"/>
              <a:gd name="connsiteX6" fmla="*/ 20953 w 758421"/>
              <a:gd name="connsiteY6" fmla="*/ 908370 h 910106"/>
              <a:gd name="connsiteX7" fmla="*/ 1928 w 758421"/>
              <a:gd name="connsiteY7" fmla="*/ 888831 h 910106"/>
              <a:gd name="connsiteX8" fmla="*/ 20953 w 758421"/>
              <a:gd name="connsiteY8" fmla="*/ 860037 h 910106"/>
              <a:gd name="connsiteX9" fmla="*/ 91396 w 758421"/>
              <a:gd name="connsiteY9" fmla="*/ 780595 h 910106"/>
              <a:gd name="connsiteX10" fmla="*/ 243081 w 758421"/>
              <a:gd name="connsiteY10" fmla="*/ 216021 h 910106"/>
              <a:gd name="connsiteX11" fmla="*/ 349260 w 758421"/>
              <a:gd name="connsiteY11" fmla="*/ 95958 h 910106"/>
              <a:gd name="connsiteX12" fmla="*/ 738240 w 758421"/>
              <a:gd name="connsiteY12" fmla="*/ 2377 h 910106"/>
              <a:gd name="connsiteX13" fmla="*/ 632318 w 758421"/>
              <a:gd name="connsiteY13" fmla="*/ 122182 h 910106"/>
              <a:gd name="connsiteX14" fmla="*/ 653914 w 758421"/>
              <a:gd name="connsiteY14" fmla="*/ 71020 h 910106"/>
              <a:gd name="connsiteX15" fmla="*/ 349003 w 758421"/>
              <a:gd name="connsiteY15" fmla="*/ 144292 h 910106"/>
              <a:gd name="connsiteX16" fmla="*/ 278559 w 758421"/>
              <a:gd name="connsiteY16" fmla="*/ 223990 h 910106"/>
              <a:gd name="connsiteX17" fmla="*/ 126875 w 758421"/>
              <a:gd name="connsiteY17" fmla="*/ 788565 h 910106"/>
              <a:gd name="connsiteX18" fmla="*/ 105279 w 758421"/>
              <a:gd name="connsiteY18" fmla="*/ 839727 h 910106"/>
              <a:gd name="connsiteX19" fmla="*/ 410191 w 758421"/>
              <a:gd name="connsiteY19" fmla="*/ 766198 h 910106"/>
              <a:gd name="connsiteX20" fmla="*/ 480634 w 758421"/>
              <a:gd name="connsiteY20" fmla="*/ 686500 h 910106"/>
              <a:gd name="connsiteX21" fmla="*/ 632318 w 758421"/>
              <a:gd name="connsiteY21" fmla="*/ 122182 h 910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758421" h="910106">
                <a:moveTo>
                  <a:pt x="738240" y="2377"/>
                </a:moveTo>
                <a:cubicBezTo>
                  <a:pt x="748781" y="-194"/>
                  <a:pt x="757265" y="8547"/>
                  <a:pt x="757265" y="21916"/>
                </a:cubicBezTo>
                <a:cubicBezTo>
                  <a:pt x="757265" y="35285"/>
                  <a:pt x="748781" y="48139"/>
                  <a:pt x="738240" y="50710"/>
                </a:cubicBezTo>
                <a:cubicBezTo>
                  <a:pt x="707132" y="58166"/>
                  <a:pt x="678852" y="90045"/>
                  <a:pt x="667797" y="130152"/>
                </a:cubicBezTo>
                <a:lnTo>
                  <a:pt x="516113" y="694726"/>
                </a:lnTo>
                <a:cubicBezTo>
                  <a:pt x="499916" y="755143"/>
                  <a:pt x="457238" y="803477"/>
                  <a:pt x="409933" y="814789"/>
                </a:cubicBezTo>
                <a:lnTo>
                  <a:pt x="20953" y="908370"/>
                </a:lnTo>
                <a:cubicBezTo>
                  <a:pt x="10412" y="910941"/>
                  <a:pt x="1928" y="902200"/>
                  <a:pt x="1928" y="888831"/>
                </a:cubicBezTo>
                <a:cubicBezTo>
                  <a:pt x="1928" y="875462"/>
                  <a:pt x="10412" y="862608"/>
                  <a:pt x="20953" y="860037"/>
                </a:cubicBezTo>
                <a:cubicBezTo>
                  <a:pt x="52061" y="852581"/>
                  <a:pt x="80341" y="820702"/>
                  <a:pt x="91396" y="780595"/>
                </a:cubicBezTo>
                <a:lnTo>
                  <a:pt x="243081" y="216021"/>
                </a:lnTo>
                <a:cubicBezTo>
                  <a:pt x="259277" y="155604"/>
                  <a:pt x="301955" y="107270"/>
                  <a:pt x="349260" y="95958"/>
                </a:cubicBezTo>
                <a:lnTo>
                  <a:pt x="738240" y="2377"/>
                </a:lnTo>
                <a:close/>
                <a:moveTo>
                  <a:pt x="632318" y="122182"/>
                </a:moveTo>
                <a:cubicBezTo>
                  <a:pt x="637203" y="103671"/>
                  <a:pt x="644659" y="86446"/>
                  <a:pt x="653914" y="71020"/>
                </a:cubicBezTo>
                <a:lnTo>
                  <a:pt x="349003" y="144292"/>
                </a:lnTo>
                <a:cubicBezTo>
                  <a:pt x="317637" y="151747"/>
                  <a:pt x="289357" y="183884"/>
                  <a:pt x="278559" y="223990"/>
                </a:cubicBezTo>
                <a:lnTo>
                  <a:pt x="126875" y="788565"/>
                </a:lnTo>
                <a:cubicBezTo>
                  <a:pt x="121990" y="807076"/>
                  <a:pt x="114535" y="824301"/>
                  <a:pt x="105279" y="839727"/>
                </a:cubicBezTo>
                <a:lnTo>
                  <a:pt x="410191" y="766198"/>
                </a:lnTo>
                <a:cubicBezTo>
                  <a:pt x="441556" y="758742"/>
                  <a:pt x="469836" y="726606"/>
                  <a:pt x="480634" y="686500"/>
                </a:cubicBezTo>
                <a:lnTo>
                  <a:pt x="632318" y="122182"/>
                </a:lnTo>
              </a:path>
            </a:pathLst>
          </a:custGeom>
          <a:gradFill>
            <a:gsLst>
              <a:gs pos="0">
                <a:srgbClr val="FFE682"/>
              </a:gs>
              <a:gs pos="100000">
                <a:srgbClr val="FFC61B"/>
              </a:gs>
            </a:gsLst>
            <a:lin ang="16800000" scaled="0"/>
          </a:gradFill>
          <a:ln w="9525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Полилиния: фигура 11">
            <a:extLst>
              <a:ext uri="{FF2B5EF4-FFF2-40B4-BE49-F238E27FC236}">
                <a16:creationId xmlns="" xmlns:a16="http://schemas.microsoft.com/office/drawing/2014/main" id="{A7D0072D-DDEB-417D-BA92-B7392BEF76CD}"/>
              </a:ext>
            </a:extLst>
          </p:cNvPr>
          <p:cNvSpPr/>
          <p:nvPr/>
        </p:nvSpPr>
        <p:spPr>
          <a:xfrm>
            <a:off x="9236954" y="4070196"/>
            <a:ext cx="4263885" cy="5092416"/>
          </a:xfrm>
          <a:custGeom>
            <a:avLst/>
            <a:gdLst>
              <a:gd name="connsiteX0" fmla="*/ 517080 w 650784"/>
              <a:gd name="connsiteY0" fmla="*/ 34081 h 777240"/>
              <a:gd name="connsiteX1" fmla="*/ 590178 w 650784"/>
              <a:gd name="connsiteY1" fmla="*/ 16501 h 777240"/>
              <a:gd name="connsiteX2" fmla="*/ 649396 w 650784"/>
              <a:gd name="connsiteY2" fmla="*/ 2313 h 777240"/>
              <a:gd name="connsiteX3" fmla="*/ 569822 w 650784"/>
              <a:gd name="connsiteY3" fmla="*/ 92066 h 777240"/>
              <a:gd name="connsiteX4" fmla="*/ 432880 w 650784"/>
              <a:gd name="connsiteY4" fmla="*/ 601590 h 777240"/>
              <a:gd name="connsiteX5" fmla="*/ 353305 w 650784"/>
              <a:gd name="connsiteY5" fmla="*/ 691651 h 777240"/>
              <a:gd name="connsiteX6" fmla="*/ 123834 w 650784"/>
              <a:gd name="connsiteY6" fmla="*/ 746860 h 777240"/>
              <a:gd name="connsiteX7" fmla="*/ 61223 w 650784"/>
              <a:gd name="connsiteY7" fmla="*/ 761973 h 777240"/>
              <a:gd name="connsiteX8" fmla="*/ 2313 w 650784"/>
              <a:gd name="connsiteY8" fmla="*/ 776161 h 777240"/>
              <a:gd name="connsiteX9" fmla="*/ 81888 w 650784"/>
              <a:gd name="connsiteY9" fmla="*/ 686408 h 777240"/>
              <a:gd name="connsiteX10" fmla="*/ 218830 w 650784"/>
              <a:gd name="connsiteY10" fmla="*/ 176884 h 777240"/>
              <a:gd name="connsiteX11" fmla="*/ 298405 w 650784"/>
              <a:gd name="connsiteY11" fmla="*/ 86823 h 777240"/>
              <a:gd name="connsiteX12" fmla="*/ 517080 w 650784"/>
              <a:gd name="connsiteY12" fmla="*/ 34081 h 777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50784" h="777240">
                <a:moveTo>
                  <a:pt x="517080" y="34081"/>
                </a:moveTo>
                <a:lnTo>
                  <a:pt x="590178" y="16501"/>
                </a:lnTo>
                <a:lnTo>
                  <a:pt x="649396" y="2313"/>
                </a:lnTo>
                <a:cubicBezTo>
                  <a:pt x="613927" y="10949"/>
                  <a:pt x="582159" y="46727"/>
                  <a:pt x="569822" y="92066"/>
                </a:cubicBezTo>
                <a:lnTo>
                  <a:pt x="432880" y="601590"/>
                </a:lnTo>
                <a:cubicBezTo>
                  <a:pt x="420542" y="647238"/>
                  <a:pt x="388774" y="683015"/>
                  <a:pt x="353305" y="691651"/>
                </a:cubicBezTo>
                <a:lnTo>
                  <a:pt x="123834" y="746860"/>
                </a:lnTo>
                <a:lnTo>
                  <a:pt x="61223" y="761973"/>
                </a:lnTo>
                <a:lnTo>
                  <a:pt x="2313" y="776161"/>
                </a:lnTo>
                <a:cubicBezTo>
                  <a:pt x="37783" y="767525"/>
                  <a:pt x="69551" y="731747"/>
                  <a:pt x="81888" y="686408"/>
                </a:cubicBezTo>
                <a:lnTo>
                  <a:pt x="218830" y="176884"/>
                </a:lnTo>
                <a:cubicBezTo>
                  <a:pt x="231167" y="131236"/>
                  <a:pt x="262935" y="95459"/>
                  <a:pt x="298405" y="86823"/>
                </a:cubicBezTo>
                <a:lnTo>
                  <a:pt x="517080" y="34081"/>
                </a:lnTo>
                <a:close/>
              </a:path>
            </a:pathLst>
          </a:custGeom>
          <a:gradFill>
            <a:gsLst>
              <a:gs pos="0">
                <a:srgbClr val="FFE682"/>
              </a:gs>
              <a:gs pos="100000">
                <a:srgbClr val="FFC61B"/>
              </a:gs>
            </a:gsLst>
            <a:lin ang="16800000" scaled="0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Полилиния: фигура 8">
            <a:extLst>
              <a:ext uri="{FF2B5EF4-FFF2-40B4-BE49-F238E27FC236}">
                <a16:creationId xmlns="" xmlns:a16="http://schemas.microsoft.com/office/drawing/2014/main" id="{A10BA1AA-9808-4B34-8A35-A12023899248}"/>
              </a:ext>
            </a:extLst>
          </p:cNvPr>
          <p:cNvSpPr/>
          <p:nvPr/>
        </p:nvSpPr>
        <p:spPr>
          <a:xfrm>
            <a:off x="-129738" y="1923112"/>
            <a:ext cx="801710" cy="961166"/>
          </a:xfrm>
          <a:custGeom>
            <a:avLst/>
            <a:gdLst>
              <a:gd name="connsiteX0" fmla="*/ 788975 w 801709"/>
              <a:gd name="connsiteY0" fmla="*/ 1973 h 961165"/>
              <a:gd name="connsiteX1" fmla="*/ 801378 w 801709"/>
              <a:gd name="connsiteY1" fmla="*/ 14818 h 961165"/>
              <a:gd name="connsiteX2" fmla="*/ 788754 w 801709"/>
              <a:gd name="connsiteY2" fmla="*/ 33864 h 961165"/>
              <a:gd name="connsiteX3" fmla="*/ 705261 w 801709"/>
              <a:gd name="connsiteY3" fmla="*/ 128209 h 961165"/>
              <a:gd name="connsiteX4" fmla="*/ 541376 w 801709"/>
              <a:gd name="connsiteY4" fmla="*/ 738128 h 961165"/>
              <a:gd name="connsiteX5" fmla="*/ 434186 w 801709"/>
              <a:gd name="connsiteY5" fmla="*/ 859271 h 961165"/>
              <a:gd name="connsiteX6" fmla="*/ 14063 w 801709"/>
              <a:gd name="connsiteY6" fmla="*/ 960702 h 961165"/>
              <a:gd name="connsiteX7" fmla="*/ 1661 w 801709"/>
              <a:gd name="connsiteY7" fmla="*/ 947636 h 961165"/>
              <a:gd name="connsiteX8" fmla="*/ 14285 w 801709"/>
              <a:gd name="connsiteY8" fmla="*/ 928590 h 961165"/>
              <a:gd name="connsiteX9" fmla="*/ 97778 w 801709"/>
              <a:gd name="connsiteY9" fmla="*/ 834245 h 961165"/>
              <a:gd name="connsiteX10" fmla="*/ 261663 w 801709"/>
              <a:gd name="connsiteY10" fmla="*/ 224325 h 961165"/>
              <a:gd name="connsiteX11" fmla="*/ 368853 w 801709"/>
              <a:gd name="connsiteY11" fmla="*/ 103183 h 961165"/>
              <a:gd name="connsiteX12" fmla="*/ 788975 w 801709"/>
              <a:gd name="connsiteY12" fmla="*/ 1973 h 961165"/>
              <a:gd name="connsiteX13" fmla="*/ 682007 w 801709"/>
              <a:gd name="connsiteY13" fmla="*/ 122894 h 961165"/>
              <a:gd name="connsiteX14" fmla="*/ 717885 w 801709"/>
              <a:gd name="connsiteY14" fmla="*/ 50917 h 961165"/>
              <a:gd name="connsiteX15" fmla="*/ 368631 w 801709"/>
              <a:gd name="connsiteY15" fmla="*/ 135074 h 961165"/>
              <a:gd name="connsiteX16" fmla="*/ 285138 w 801709"/>
              <a:gd name="connsiteY16" fmla="*/ 229641 h 961165"/>
              <a:gd name="connsiteX17" fmla="*/ 121253 w 801709"/>
              <a:gd name="connsiteY17" fmla="*/ 839560 h 961165"/>
              <a:gd name="connsiteX18" fmla="*/ 85375 w 801709"/>
              <a:gd name="connsiteY18" fmla="*/ 911537 h 961165"/>
              <a:gd name="connsiteX19" fmla="*/ 434629 w 801709"/>
              <a:gd name="connsiteY19" fmla="*/ 827379 h 961165"/>
              <a:gd name="connsiteX20" fmla="*/ 518121 w 801709"/>
              <a:gd name="connsiteY20" fmla="*/ 732813 h 961165"/>
              <a:gd name="connsiteX21" fmla="*/ 682007 w 801709"/>
              <a:gd name="connsiteY21" fmla="*/ 122894 h 9611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801709" h="961165">
                <a:moveTo>
                  <a:pt x="788975" y="1973"/>
                </a:moveTo>
                <a:cubicBezTo>
                  <a:pt x="795841" y="201"/>
                  <a:pt x="801378" y="6181"/>
                  <a:pt x="801378" y="14818"/>
                </a:cubicBezTo>
                <a:cubicBezTo>
                  <a:pt x="801378" y="23677"/>
                  <a:pt x="795841" y="32092"/>
                  <a:pt x="788754" y="33864"/>
                </a:cubicBezTo>
                <a:cubicBezTo>
                  <a:pt x="751769" y="42723"/>
                  <a:pt x="718106" y="80593"/>
                  <a:pt x="705261" y="128209"/>
                </a:cubicBezTo>
                <a:lnTo>
                  <a:pt x="541376" y="738128"/>
                </a:lnTo>
                <a:cubicBezTo>
                  <a:pt x="524987" y="799253"/>
                  <a:pt x="482022" y="847976"/>
                  <a:pt x="434186" y="859271"/>
                </a:cubicBezTo>
                <a:lnTo>
                  <a:pt x="14063" y="960702"/>
                </a:lnTo>
                <a:cubicBezTo>
                  <a:pt x="7198" y="962474"/>
                  <a:pt x="1661" y="956495"/>
                  <a:pt x="1661" y="947636"/>
                </a:cubicBezTo>
                <a:cubicBezTo>
                  <a:pt x="1661" y="938777"/>
                  <a:pt x="7198" y="930361"/>
                  <a:pt x="14285" y="928590"/>
                </a:cubicBezTo>
                <a:cubicBezTo>
                  <a:pt x="51270" y="919731"/>
                  <a:pt x="84933" y="881639"/>
                  <a:pt x="97778" y="834245"/>
                </a:cubicBezTo>
                <a:lnTo>
                  <a:pt x="261663" y="224325"/>
                </a:lnTo>
                <a:cubicBezTo>
                  <a:pt x="278052" y="163201"/>
                  <a:pt x="321016" y="114478"/>
                  <a:pt x="368853" y="103183"/>
                </a:cubicBezTo>
                <a:lnTo>
                  <a:pt x="788975" y="1973"/>
                </a:lnTo>
                <a:close/>
                <a:moveTo>
                  <a:pt x="682007" y="122894"/>
                </a:moveTo>
                <a:cubicBezTo>
                  <a:pt x="689315" y="95653"/>
                  <a:pt x="701939" y="71070"/>
                  <a:pt x="717885" y="50917"/>
                </a:cubicBezTo>
                <a:lnTo>
                  <a:pt x="368631" y="135074"/>
                </a:lnTo>
                <a:cubicBezTo>
                  <a:pt x="331425" y="143933"/>
                  <a:pt x="297984" y="182025"/>
                  <a:pt x="285138" y="229641"/>
                </a:cubicBezTo>
                <a:lnTo>
                  <a:pt x="121253" y="839560"/>
                </a:lnTo>
                <a:cubicBezTo>
                  <a:pt x="113945" y="866800"/>
                  <a:pt x="101321" y="891383"/>
                  <a:pt x="85375" y="911537"/>
                </a:cubicBezTo>
                <a:lnTo>
                  <a:pt x="434629" y="827379"/>
                </a:lnTo>
                <a:cubicBezTo>
                  <a:pt x="471835" y="818521"/>
                  <a:pt x="505276" y="780428"/>
                  <a:pt x="518121" y="732813"/>
                </a:cubicBezTo>
                <a:lnTo>
                  <a:pt x="682007" y="122894"/>
                </a:lnTo>
              </a:path>
            </a:pathLst>
          </a:custGeom>
          <a:gradFill>
            <a:gsLst>
              <a:gs pos="0">
                <a:srgbClr val="FFE682"/>
              </a:gs>
              <a:gs pos="100000">
                <a:srgbClr val="FFC61B"/>
              </a:gs>
            </a:gsLst>
            <a:lin ang="16800000" scaled="0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Полилиния: фигура 13">
            <a:extLst>
              <a:ext uri="{FF2B5EF4-FFF2-40B4-BE49-F238E27FC236}">
                <a16:creationId xmlns="" xmlns:a16="http://schemas.microsoft.com/office/drawing/2014/main" id="{D3665D42-54FA-492C-832D-C8E026BDE786}"/>
              </a:ext>
            </a:extLst>
          </p:cNvPr>
          <p:cNvSpPr/>
          <p:nvPr/>
        </p:nvSpPr>
        <p:spPr>
          <a:xfrm>
            <a:off x="183597" y="1290009"/>
            <a:ext cx="1075951" cy="1285023"/>
          </a:xfrm>
          <a:custGeom>
            <a:avLst/>
            <a:gdLst>
              <a:gd name="connsiteX0" fmla="*/ 517080 w 650784"/>
              <a:gd name="connsiteY0" fmla="*/ 34081 h 777240"/>
              <a:gd name="connsiteX1" fmla="*/ 590178 w 650784"/>
              <a:gd name="connsiteY1" fmla="*/ 16501 h 777240"/>
              <a:gd name="connsiteX2" fmla="*/ 649396 w 650784"/>
              <a:gd name="connsiteY2" fmla="*/ 2313 h 777240"/>
              <a:gd name="connsiteX3" fmla="*/ 569822 w 650784"/>
              <a:gd name="connsiteY3" fmla="*/ 92066 h 777240"/>
              <a:gd name="connsiteX4" fmla="*/ 432880 w 650784"/>
              <a:gd name="connsiteY4" fmla="*/ 601590 h 777240"/>
              <a:gd name="connsiteX5" fmla="*/ 353305 w 650784"/>
              <a:gd name="connsiteY5" fmla="*/ 691651 h 777240"/>
              <a:gd name="connsiteX6" fmla="*/ 123834 w 650784"/>
              <a:gd name="connsiteY6" fmla="*/ 746860 h 777240"/>
              <a:gd name="connsiteX7" fmla="*/ 61223 w 650784"/>
              <a:gd name="connsiteY7" fmla="*/ 761973 h 777240"/>
              <a:gd name="connsiteX8" fmla="*/ 2313 w 650784"/>
              <a:gd name="connsiteY8" fmla="*/ 776161 h 777240"/>
              <a:gd name="connsiteX9" fmla="*/ 81888 w 650784"/>
              <a:gd name="connsiteY9" fmla="*/ 686408 h 777240"/>
              <a:gd name="connsiteX10" fmla="*/ 218830 w 650784"/>
              <a:gd name="connsiteY10" fmla="*/ 176884 h 777240"/>
              <a:gd name="connsiteX11" fmla="*/ 298405 w 650784"/>
              <a:gd name="connsiteY11" fmla="*/ 86823 h 777240"/>
              <a:gd name="connsiteX12" fmla="*/ 517080 w 650784"/>
              <a:gd name="connsiteY12" fmla="*/ 34081 h 777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50784" h="777240">
                <a:moveTo>
                  <a:pt x="517080" y="34081"/>
                </a:moveTo>
                <a:lnTo>
                  <a:pt x="590178" y="16501"/>
                </a:lnTo>
                <a:lnTo>
                  <a:pt x="649396" y="2313"/>
                </a:lnTo>
                <a:cubicBezTo>
                  <a:pt x="613927" y="10949"/>
                  <a:pt x="582159" y="46727"/>
                  <a:pt x="569822" y="92066"/>
                </a:cubicBezTo>
                <a:lnTo>
                  <a:pt x="432880" y="601590"/>
                </a:lnTo>
                <a:cubicBezTo>
                  <a:pt x="420542" y="647238"/>
                  <a:pt x="388774" y="683015"/>
                  <a:pt x="353305" y="691651"/>
                </a:cubicBezTo>
                <a:lnTo>
                  <a:pt x="123834" y="746860"/>
                </a:lnTo>
                <a:lnTo>
                  <a:pt x="61223" y="761973"/>
                </a:lnTo>
                <a:lnTo>
                  <a:pt x="2313" y="776161"/>
                </a:lnTo>
                <a:cubicBezTo>
                  <a:pt x="37783" y="767525"/>
                  <a:pt x="69551" y="731747"/>
                  <a:pt x="81888" y="686408"/>
                </a:cubicBezTo>
                <a:lnTo>
                  <a:pt x="218830" y="176884"/>
                </a:lnTo>
                <a:cubicBezTo>
                  <a:pt x="231167" y="131236"/>
                  <a:pt x="262935" y="95459"/>
                  <a:pt x="298405" y="86823"/>
                </a:cubicBezTo>
                <a:lnTo>
                  <a:pt x="517080" y="34081"/>
                </a:lnTo>
                <a:close/>
              </a:path>
            </a:pathLst>
          </a:custGeom>
          <a:gradFill>
            <a:gsLst>
              <a:gs pos="0">
                <a:srgbClr val="FFE682"/>
              </a:gs>
              <a:gs pos="100000">
                <a:srgbClr val="FFC61B"/>
              </a:gs>
            </a:gsLst>
            <a:lin ang="16800000" scaled="0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Полилиния: фигура 19">
            <a:extLst>
              <a:ext uri="{FF2B5EF4-FFF2-40B4-BE49-F238E27FC236}">
                <a16:creationId xmlns="" xmlns:a16="http://schemas.microsoft.com/office/drawing/2014/main" id="{3A1702F1-D86D-4CCE-B89F-8FC3E38C1CAB}"/>
              </a:ext>
            </a:extLst>
          </p:cNvPr>
          <p:cNvSpPr/>
          <p:nvPr/>
        </p:nvSpPr>
        <p:spPr>
          <a:xfrm>
            <a:off x="10510118" y="1262160"/>
            <a:ext cx="858778" cy="1029585"/>
          </a:xfrm>
          <a:custGeom>
            <a:avLst/>
            <a:gdLst>
              <a:gd name="connsiteX0" fmla="*/ 788975 w 801709"/>
              <a:gd name="connsiteY0" fmla="*/ 1973 h 961165"/>
              <a:gd name="connsiteX1" fmla="*/ 801378 w 801709"/>
              <a:gd name="connsiteY1" fmla="*/ 14818 h 961165"/>
              <a:gd name="connsiteX2" fmla="*/ 788754 w 801709"/>
              <a:gd name="connsiteY2" fmla="*/ 33864 h 961165"/>
              <a:gd name="connsiteX3" fmla="*/ 705261 w 801709"/>
              <a:gd name="connsiteY3" fmla="*/ 128209 h 961165"/>
              <a:gd name="connsiteX4" fmla="*/ 541376 w 801709"/>
              <a:gd name="connsiteY4" fmla="*/ 738128 h 961165"/>
              <a:gd name="connsiteX5" fmla="*/ 434186 w 801709"/>
              <a:gd name="connsiteY5" fmla="*/ 859271 h 961165"/>
              <a:gd name="connsiteX6" fmla="*/ 14063 w 801709"/>
              <a:gd name="connsiteY6" fmla="*/ 960702 h 961165"/>
              <a:gd name="connsiteX7" fmla="*/ 1661 w 801709"/>
              <a:gd name="connsiteY7" fmla="*/ 947636 h 961165"/>
              <a:gd name="connsiteX8" fmla="*/ 14285 w 801709"/>
              <a:gd name="connsiteY8" fmla="*/ 928590 h 961165"/>
              <a:gd name="connsiteX9" fmla="*/ 97778 w 801709"/>
              <a:gd name="connsiteY9" fmla="*/ 834245 h 961165"/>
              <a:gd name="connsiteX10" fmla="*/ 261663 w 801709"/>
              <a:gd name="connsiteY10" fmla="*/ 224325 h 961165"/>
              <a:gd name="connsiteX11" fmla="*/ 368853 w 801709"/>
              <a:gd name="connsiteY11" fmla="*/ 103183 h 961165"/>
              <a:gd name="connsiteX12" fmla="*/ 788975 w 801709"/>
              <a:gd name="connsiteY12" fmla="*/ 1973 h 961165"/>
              <a:gd name="connsiteX13" fmla="*/ 682007 w 801709"/>
              <a:gd name="connsiteY13" fmla="*/ 122894 h 961165"/>
              <a:gd name="connsiteX14" fmla="*/ 717885 w 801709"/>
              <a:gd name="connsiteY14" fmla="*/ 50917 h 961165"/>
              <a:gd name="connsiteX15" fmla="*/ 368631 w 801709"/>
              <a:gd name="connsiteY15" fmla="*/ 135074 h 961165"/>
              <a:gd name="connsiteX16" fmla="*/ 285138 w 801709"/>
              <a:gd name="connsiteY16" fmla="*/ 229641 h 961165"/>
              <a:gd name="connsiteX17" fmla="*/ 121253 w 801709"/>
              <a:gd name="connsiteY17" fmla="*/ 839560 h 961165"/>
              <a:gd name="connsiteX18" fmla="*/ 85375 w 801709"/>
              <a:gd name="connsiteY18" fmla="*/ 911537 h 961165"/>
              <a:gd name="connsiteX19" fmla="*/ 434629 w 801709"/>
              <a:gd name="connsiteY19" fmla="*/ 827379 h 961165"/>
              <a:gd name="connsiteX20" fmla="*/ 518121 w 801709"/>
              <a:gd name="connsiteY20" fmla="*/ 732813 h 961165"/>
              <a:gd name="connsiteX21" fmla="*/ 682007 w 801709"/>
              <a:gd name="connsiteY21" fmla="*/ 122894 h 9611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801709" h="961165">
                <a:moveTo>
                  <a:pt x="788975" y="1973"/>
                </a:moveTo>
                <a:cubicBezTo>
                  <a:pt x="795841" y="201"/>
                  <a:pt x="801378" y="6181"/>
                  <a:pt x="801378" y="14818"/>
                </a:cubicBezTo>
                <a:cubicBezTo>
                  <a:pt x="801378" y="23677"/>
                  <a:pt x="795841" y="32092"/>
                  <a:pt x="788754" y="33864"/>
                </a:cubicBezTo>
                <a:cubicBezTo>
                  <a:pt x="751769" y="42723"/>
                  <a:pt x="718106" y="80593"/>
                  <a:pt x="705261" y="128209"/>
                </a:cubicBezTo>
                <a:lnTo>
                  <a:pt x="541376" y="738128"/>
                </a:lnTo>
                <a:cubicBezTo>
                  <a:pt x="524987" y="799253"/>
                  <a:pt x="482022" y="847976"/>
                  <a:pt x="434186" y="859271"/>
                </a:cubicBezTo>
                <a:lnTo>
                  <a:pt x="14063" y="960702"/>
                </a:lnTo>
                <a:cubicBezTo>
                  <a:pt x="7198" y="962474"/>
                  <a:pt x="1661" y="956495"/>
                  <a:pt x="1661" y="947636"/>
                </a:cubicBezTo>
                <a:cubicBezTo>
                  <a:pt x="1661" y="938777"/>
                  <a:pt x="7198" y="930361"/>
                  <a:pt x="14285" y="928590"/>
                </a:cubicBezTo>
                <a:cubicBezTo>
                  <a:pt x="51270" y="919731"/>
                  <a:pt x="84933" y="881639"/>
                  <a:pt x="97778" y="834245"/>
                </a:cubicBezTo>
                <a:lnTo>
                  <a:pt x="261663" y="224325"/>
                </a:lnTo>
                <a:cubicBezTo>
                  <a:pt x="278052" y="163201"/>
                  <a:pt x="321016" y="114478"/>
                  <a:pt x="368853" y="103183"/>
                </a:cubicBezTo>
                <a:lnTo>
                  <a:pt x="788975" y="1973"/>
                </a:lnTo>
                <a:close/>
                <a:moveTo>
                  <a:pt x="682007" y="122894"/>
                </a:moveTo>
                <a:cubicBezTo>
                  <a:pt x="689315" y="95653"/>
                  <a:pt x="701939" y="71070"/>
                  <a:pt x="717885" y="50917"/>
                </a:cubicBezTo>
                <a:lnTo>
                  <a:pt x="368631" y="135074"/>
                </a:lnTo>
                <a:cubicBezTo>
                  <a:pt x="331425" y="143933"/>
                  <a:pt x="297984" y="182025"/>
                  <a:pt x="285138" y="229641"/>
                </a:cubicBezTo>
                <a:lnTo>
                  <a:pt x="121253" y="839560"/>
                </a:lnTo>
                <a:cubicBezTo>
                  <a:pt x="113945" y="866800"/>
                  <a:pt x="101321" y="891383"/>
                  <a:pt x="85375" y="911537"/>
                </a:cubicBezTo>
                <a:lnTo>
                  <a:pt x="434629" y="827379"/>
                </a:lnTo>
                <a:cubicBezTo>
                  <a:pt x="471835" y="818521"/>
                  <a:pt x="505276" y="780428"/>
                  <a:pt x="518121" y="732813"/>
                </a:cubicBezTo>
                <a:lnTo>
                  <a:pt x="682007" y="122894"/>
                </a:lnTo>
              </a:path>
            </a:pathLst>
          </a:custGeom>
          <a:gradFill>
            <a:gsLst>
              <a:gs pos="0">
                <a:srgbClr val="FFE682"/>
              </a:gs>
              <a:gs pos="100000">
                <a:srgbClr val="FFC61B"/>
              </a:gs>
            </a:gsLst>
            <a:lin ang="16800000" scaled="0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98" name="Прямая со стрелкой 97">
            <a:extLst>
              <a:ext uri="{FF2B5EF4-FFF2-40B4-BE49-F238E27FC236}">
                <a16:creationId xmlns="" xmlns:a16="http://schemas.microsoft.com/office/drawing/2014/main" id="{75307F3F-A4A9-48EC-B0B3-3D4EB50E2DFE}"/>
              </a:ext>
            </a:extLst>
          </p:cNvPr>
          <p:cNvCxnSpPr>
            <a:cxnSpLocks/>
          </p:cNvCxnSpPr>
          <p:nvPr/>
        </p:nvCxnSpPr>
        <p:spPr>
          <a:xfrm rot="5400000" flipV="1">
            <a:off x="2034592" y="7817655"/>
            <a:ext cx="0" cy="2576634"/>
          </a:xfrm>
          <a:prstGeom prst="straightConnector1">
            <a:avLst/>
          </a:prstGeom>
          <a:noFill/>
          <a:ln w="60325" cap="rnd" cmpd="sng" algn="ctr">
            <a:solidFill>
              <a:srgbClr val="FFD415"/>
            </a:solidFill>
            <a:prstDash val="sysDot"/>
            <a:round/>
            <a:tailEnd type="none" w="lg" len="lg"/>
          </a:ln>
          <a:effectLst/>
        </p:spPr>
      </p:cxnSp>
      <p:sp>
        <p:nvSpPr>
          <p:cNvPr id="38" name="Заголовок 1">
            <a:extLst>
              <a:ext uri="{FF2B5EF4-FFF2-40B4-BE49-F238E27FC236}">
                <a16:creationId xmlns="" xmlns:a16="http://schemas.microsoft.com/office/drawing/2014/main" id="{B60FBF71-D6E2-420D-89D0-9C656008FF91}"/>
              </a:ext>
            </a:extLst>
          </p:cNvPr>
          <p:cNvSpPr txBox="1">
            <a:spLocks/>
          </p:cNvSpPr>
          <p:nvPr/>
        </p:nvSpPr>
        <p:spPr>
          <a:xfrm>
            <a:off x="898771" y="458728"/>
            <a:ext cx="10427686" cy="2224756"/>
          </a:xfrm>
          <a:prstGeom prst="rect">
            <a:avLst/>
          </a:prstGeom>
        </p:spPr>
        <p:txBody>
          <a:bodyPr/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 algn="ctr">
              <a:defRPr/>
            </a:pPr>
            <a:endParaRPr lang="ru-RU" sz="3200" dirty="0">
              <a:solidFill>
                <a:srgbClr val="624E33"/>
              </a:solidFill>
              <a:uFill>
                <a:solidFill>
                  <a:schemeClr val="accent5"/>
                </a:solidFill>
              </a:uFill>
            </a:endParaRPr>
          </a:p>
        </p:txBody>
      </p:sp>
      <p:grpSp>
        <p:nvGrpSpPr>
          <p:cNvPr id="62" name="Группа 61">
            <a:extLst>
              <a:ext uri="{FF2B5EF4-FFF2-40B4-BE49-F238E27FC236}">
                <a16:creationId xmlns="" xmlns:a16="http://schemas.microsoft.com/office/drawing/2014/main" id="{DCAF3158-A891-4A98-9B73-F90296C6773E}"/>
              </a:ext>
            </a:extLst>
          </p:cNvPr>
          <p:cNvGrpSpPr/>
          <p:nvPr/>
        </p:nvGrpSpPr>
        <p:grpSpPr>
          <a:xfrm>
            <a:off x="6959965" y="1555566"/>
            <a:ext cx="4630628" cy="1100297"/>
            <a:chOff x="5776797" y="1350286"/>
            <a:chExt cx="4630628" cy="1100297"/>
          </a:xfrm>
        </p:grpSpPr>
        <p:sp>
          <p:nvSpPr>
            <p:cNvPr id="48" name="Полилиния: фигура 47">
              <a:extLst>
                <a:ext uri="{FF2B5EF4-FFF2-40B4-BE49-F238E27FC236}">
                  <a16:creationId xmlns="" xmlns:a16="http://schemas.microsoft.com/office/drawing/2014/main" id="{44DFC49A-D1DE-44F8-9AB0-DA4699ABA8D5}"/>
                </a:ext>
              </a:extLst>
            </p:cNvPr>
            <p:cNvSpPr/>
            <p:nvPr/>
          </p:nvSpPr>
          <p:spPr>
            <a:xfrm>
              <a:off x="6546994" y="1350286"/>
              <a:ext cx="489905" cy="585101"/>
            </a:xfrm>
            <a:custGeom>
              <a:avLst/>
              <a:gdLst>
                <a:gd name="connsiteX0" fmla="*/ 517080 w 650784"/>
                <a:gd name="connsiteY0" fmla="*/ 34081 h 777240"/>
                <a:gd name="connsiteX1" fmla="*/ 590178 w 650784"/>
                <a:gd name="connsiteY1" fmla="*/ 16501 h 777240"/>
                <a:gd name="connsiteX2" fmla="*/ 649396 w 650784"/>
                <a:gd name="connsiteY2" fmla="*/ 2313 h 777240"/>
                <a:gd name="connsiteX3" fmla="*/ 569822 w 650784"/>
                <a:gd name="connsiteY3" fmla="*/ 92066 h 777240"/>
                <a:gd name="connsiteX4" fmla="*/ 432880 w 650784"/>
                <a:gd name="connsiteY4" fmla="*/ 601590 h 777240"/>
                <a:gd name="connsiteX5" fmla="*/ 353305 w 650784"/>
                <a:gd name="connsiteY5" fmla="*/ 691651 h 777240"/>
                <a:gd name="connsiteX6" fmla="*/ 123834 w 650784"/>
                <a:gd name="connsiteY6" fmla="*/ 746860 h 777240"/>
                <a:gd name="connsiteX7" fmla="*/ 61223 w 650784"/>
                <a:gd name="connsiteY7" fmla="*/ 761973 h 777240"/>
                <a:gd name="connsiteX8" fmla="*/ 2313 w 650784"/>
                <a:gd name="connsiteY8" fmla="*/ 776161 h 777240"/>
                <a:gd name="connsiteX9" fmla="*/ 81888 w 650784"/>
                <a:gd name="connsiteY9" fmla="*/ 686408 h 777240"/>
                <a:gd name="connsiteX10" fmla="*/ 218830 w 650784"/>
                <a:gd name="connsiteY10" fmla="*/ 176884 h 777240"/>
                <a:gd name="connsiteX11" fmla="*/ 298405 w 650784"/>
                <a:gd name="connsiteY11" fmla="*/ 86823 h 777240"/>
                <a:gd name="connsiteX12" fmla="*/ 517080 w 650784"/>
                <a:gd name="connsiteY12" fmla="*/ 34081 h 777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0784" h="777240">
                  <a:moveTo>
                    <a:pt x="517080" y="34081"/>
                  </a:moveTo>
                  <a:lnTo>
                    <a:pt x="590178" y="16501"/>
                  </a:lnTo>
                  <a:lnTo>
                    <a:pt x="649396" y="2313"/>
                  </a:lnTo>
                  <a:cubicBezTo>
                    <a:pt x="613927" y="10949"/>
                    <a:pt x="582159" y="46727"/>
                    <a:pt x="569822" y="92066"/>
                  </a:cubicBezTo>
                  <a:lnTo>
                    <a:pt x="432880" y="601590"/>
                  </a:lnTo>
                  <a:cubicBezTo>
                    <a:pt x="420542" y="647238"/>
                    <a:pt x="388774" y="683015"/>
                    <a:pt x="353305" y="691651"/>
                  </a:cubicBezTo>
                  <a:lnTo>
                    <a:pt x="123834" y="746860"/>
                  </a:lnTo>
                  <a:lnTo>
                    <a:pt x="61223" y="761973"/>
                  </a:lnTo>
                  <a:lnTo>
                    <a:pt x="2313" y="776161"/>
                  </a:lnTo>
                  <a:cubicBezTo>
                    <a:pt x="37783" y="767525"/>
                    <a:pt x="69551" y="731747"/>
                    <a:pt x="81888" y="686408"/>
                  </a:cubicBezTo>
                  <a:lnTo>
                    <a:pt x="218830" y="176884"/>
                  </a:lnTo>
                  <a:cubicBezTo>
                    <a:pt x="231167" y="131236"/>
                    <a:pt x="262935" y="95459"/>
                    <a:pt x="298405" y="86823"/>
                  </a:cubicBezTo>
                  <a:lnTo>
                    <a:pt x="517080" y="34081"/>
                  </a:lnTo>
                  <a:close/>
                </a:path>
              </a:pathLst>
            </a:custGeom>
            <a:gradFill>
              <a:gsLst>
                <a:gs pos="0">
                  <a:srgbClr val="FFE682"/>
                </a:gs>
                <a:gs pos="100000">
                  <a:srgbClr val="FFC61B"/>
                </a:gs>
              </a:gsLst>
              <a:lin ang="16800000" scaled="0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Объект 2">
              <a:extLst>
                <a:ext uri="{FF2B5EF4-FFF2-40B4-BE49-F238E27FC236}">
                  <a16:creationId xmlns="" xmlns:a16="http://schemas.microsoft.com/office/drawing/2014/main" id="{8EC52BC5-75DC-48C5-8315-27235FEB38F1}"/>
                </a:ext>
              </a:extLst>
            </p:cNvPr>
            <p:cNvSpPr txBox="1">
              <a:spLocks/>
            </p:cNvSpPr>
            <p:nvPr/>
          </p:nvSpPr>
          <p:spPr>
            <a:xfrm>
              <a:off x="6636288" y="1406639"/>
              <a:ext cx="1551789" cy="1043944"/>
            </a:xfrm>
            <a:prstGeom prst="rect">
              <a:avLst/>
            </a:prstGeom>
          </p:spPr>
          <p:txBody>
            <a:bodyPr vert="horz" lIns="91440" tIns="45720" rIns="91440" bIns="45720" rtlCol="0" anchor="t">
              <a:normAutofit/>
            </a:bodyPr>
            <a:lstStyle>
              <a:lvl1pPr marL="0" marR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2800" b="1" kern="1200">
                  <a:solidFill>
                    <a:srgbClr val="3C3837"/>
                  </a:solidFill>
                  <a:latin typeface="+mn-lt"/>
                  <a:ea typeface="+mn-ea"/>
                  <a:cs typeface="+mn-cs"/>
                </a:defRPr>
              </a:lvl1pPr>
              <a:lvl2pPr marL="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800" kern="1200">
                  <a:solidFill>
                    <a:srgbClr val="3C3837"/>
                  </a:solidFill>
                  <a:latin typeface="+mn-lt"/>
                  <a:ea typeface="+mn-ea"/>
                  <a:cs typeface="+mn-cs"/>
                </a:defRPr>
              </a:lvl2pPr>
              <a:lvl3pPr marL="9144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ru-RU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3C383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9</a:t>
              </a:r>
              <a:r>
                <a:rPr kumimoji="0" lang="ru-RU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3C383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/>
              </a:r>
              <a:br>
                <a:rPr kumimoji="0" lang="ru-RU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3C383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</a:b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50" name="Рисунок 49">
              <a:extLst>
                <a:ext uri="{FF2B5EF4-FFF2-40B4-BE49-F238E27FC236}">
                  <a16:creationId xmlns="" xmlns:a16="http://schemas.microsoft.com/office/drawing/2014/main" id="{DADDA8DE-A3B3-48D1-8215-9D9B379E3E0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776797" y="1481688"/>
              <a:ext cx="646091" cy="905735"/>
            </a:xfrm>
            <a:prstGeom prst="rect">
              <a:avLst/>
            </a:prstGeom>
          </p:spPr>
        </p:pic>
        <p:sp>
          <p:nvSpPr>
            <p:cNvPr id="51" name="Прямоугольник 50">
              <a:extLst>
                <a:ext uri="{FF2B5EF4-FFF2-40B4-BE49-F238E27FC236}">
                  <a16:creationId xmlns="" xmlns:a16="http://schemas.microsoft.com/office/drawing/2014/main" id="{87B43904-709B-41CC-806B-D82FC2B30C56}"/>
                </a:ext>
              </a:extLst>
            </p:cNvPr>
            <p:cNvSpPr/>
            <p:nvPr/>
          </p:nvSpPr>
          <p:spPr>
            <a:xfrm>
              <a:off x="6636461" y="1803238"/>
              <a:ext cx="3770964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>
                <a:defRPr/>
              </a:pPr>
              <a:r>
                <a:rPr lang="ru-RU" dirty="0">
                  <a:solidFill>
                    <a:srgbClr val="3C3837"/>
                  </a:solidFill>
                </a:rPr>
                <a:t>конкурсов</a:t>
              </a:r>
              <a:br>
                <a:rPr lang="ru-RU" dirty="0">
                  <a:solidFill>
                    <a:srgbClr val="3C3837"/>
                  </a:solidFill>
                </a:rPr>
              </a:br>
              <a:r>
                <a:rPr lang="ru-RU" dirty="0">
                  <a:solidFill>
                    <a:srgbClr val="3C3837"/>
                  </a:solidFill>
                </a:rPr>
                <a:t>с апреля 2017 года</a:t>
              </a: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</a:endParaRPr>
            </a:p>
          </p:txBody>
        </p:sp>
      </p:grpSp>
      <p:sp>
        <p:nvSpPr>
          <p:cNvPr id="3" name="Заголовок 2">
            <a:extLst>
              <a:ext uri="{FF2B5EF4-FFF2-40B4-BE49-F238E27FC236}">
                <a16:creationId xmlns="" xmlns:a16="http://schemas.microsoft.com/office/drawing/2014/main" id="{BA839CA9-CB8C-4C12-954D-C2C203D622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3000" dirty="0">
                <a:uFill>
                  <a:solidFill>
                    <a:schemeClr val="accent5"/>
                  </a:solidFill>
                </a:uFill>
              </a:rPr>
              <a:t>Конкурсы на предоставление грантов</a:t>
            </a:r>
            <a:endParaRPr lang="ru-RU" sz="3000" dirty="0"/>
          </a:p>
        </p:txBody>
      </p:sp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4E70F3E1-4C07-4571-B242-E9E7C8CE35A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410365" y="1080887"/>
            <a:ext cx="4946922" cy="2068126"/>
          </a:xfrm>
          <a:prstGeom prst="rect">
            <a:avLst/>
          </a:prstGeom>
        </p:spPr>
      </p:pic>
      <p:sp>
        <p:nvSpPr>
          <p:cNvPr id="57" name="Прямоугольник 56">
            <a:extLst>
              <a:ext uri="{FF2B5EF4-FFF2-40B4-BE49-F238E27FC236}">
                <a16:creationId xmlns="" xmlns:a16="http://schemas.microsoft.com/office/drawing/2014/main" id="{7BA52BC6-9F61-4107-BB97-FC010C3F0D6F}"/>
              </a:ext>
            </a:extLst>
          </p:cNvPr>
          <p:cNvSpPr/>
          <p:nvPr/>
        </p:nvSpPr>
        <p:spPr>
          <a:xfrm rot="5400000">
            <a:off x="4948673" y="-755331"/>
            <a:ext cx="2389120" cy="10954541"/>
          </a:xfrm>
          <a:prstGeom prst="rect">
            <a:avLst/>
          </a:prstGeom>
          <a:solidFill>
            <a:srgbClr val="FFFFFF"/>
          </a:solidFill>
          <a:ln w="6350" cap="flat">
            <a:solidFill>
              <a:srgbClr val="4C3B21">
                <a:alpha val="17000"/>
              </a:srgbClr>
            </a:solidFill>
            <a:prstDash val="solid"/>
            <a:miter lim="800000"/>
          </a:ln>
          <a:effectLst>
            <a:outerShdw blurRad="304800" rotWithShape="0">
              <a:srgbClr val="6B522E">
                <a:alpha val="28000"/>
              </a:srgbClr>
            </a:outerShdw>
          </a:effectLst>
        </p:spPr>
        <p:txBody>
          <a:bodyPr wrap="square" lIns="45719" tIns="45719" rIns="45719" bIns="45719" numCol="1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</a:t>
            </a:r>
          </a:p>
        </p:txBody>
      </p:sp>
      <p:grpSp>
        <p:nvGrpSpPr>
          <p:cNvPr id="61" name="Группа 60">
            <a:extLst>
              <a:ext uri="{FF2B5EF4-FFF2-40B4-BE49-F238E27FC236}">
                <a16:creationId xmlns="" xmlns:a16="http://schemas.microsoft.com/office/drawing/2014/main" id="{17C79059-FFEF-4EC1-BDD4-F75A78BDF38F}"/>
              </a:ext>
            </a:extLst>
          </p:cNvPr>
          <p:cNvGrpSpPr/>
          <p:nvPr/>
        </p:nvGrpSpPr>
        <p:grpSpPr>
          <a:xfrm>
            <a:off x="6622392" y="3816831"/>
            <a:ext cx="2250760" cy="1865403"/>
            <a:chOff x="6976657" y="3408039"/>
            <a:chExt cx="2250760" cy="1865403"/>
          </a:xfrm>
        </p:grpSpPr>
        <p:sp>
          <p:nvSpPr>
            <p:cNvPr id="40" name="Полилиния: фигура 39">
              <a:extLst>
                <a:ext uri="{FF2B5EF4-FFF2-40B4-BE49-F238E27FC236}">
                  <a16:creationId xmlns="" xmlns:a16="http://schemas.microsoft.com/office/drawing/2014/main" id="{DC0E09A8-3A37-483A-940E-A5D8D98652A9}"/>
                </a:ext>
              </a:extLst>
            </p:cNvPr>
            <p:cNvSpPr/>
            <p:nvPr/>
          </p:nvSpPr>
          <p:spPr>
            <a:xfrm>
              <a:off x="7207753" y="4184073"/>
              <a:ext cx="465513" cy="555969"/>
            </a:xfrm>
            <a:custGeom>
              <a:avLst/>
              <a:gdLst>
                <a:gd name="connsiteX0" fmla="*/ 517080 w 650784"/>
                <a:gd name="connsiteY0" fmla="*/ 34081 h 777240"/>
                <a:gd name="connsiteX1" fmla="*/ 590178 w 650784"/>
                <a:gd name="connsiteY1" fmla="*/ 16501 h 777240"/>
                <a:gd name="connsiteX2" fmla="*/ 649396 w 650784"/>
                <a:gd name="connsiteY2" fmla="*/ 2313 h 777240"/>
                <a:gd name="connsiteX3" fmla="*/ 569822 w 650784"/>
                <a:gd name="connsiteY3" fmla="*/ 92066 h 777240"/>
                <a:gd name="connsiteX4" fmla="*/ 432880 w 650784"/>
                <a:gd name="connsiteY4" fmla="*/ 601590 h 777240"/>
                <a:gd name="connsiteX5" fmla="*/ 353305 w 650784"/>
                <a:gd name="connsiteY5" fmla="*/ 691651 h 777240"/>
                <a:gd name="connsiteX6" fmla="*/ 123834 w 650784"/>
                <a:gd name="connsiteY6" fmla="*/ 746860 h 777240"/>
                <a:gd name="connsiteX7" fmla="*/ 61223 w 650784"/>
                <a:gd name="connsiteY7" fmla="*/ 761973 h 777240"/>
                <a:gd name="connsiteX8" fmla="*/ 2313 w 650784"/>
                <a:gd name="connsiteY8" fmla="*/ 776161 h 777240"/>
                <a:gd name="connsiteX9" fmla="*/ 81888 w 650784"/>
                <a:gd name="connsiteY9" fmla="*/ 686408 h 777240"/>
                <a:gd name="connsiteX10" fmla="*/ 218830 w 650784"/>
                <a:gd name="connsiteY10" fmla="*/ 176884 h 777240"/>
                <a:gd name="connsiteX11" fmla="*/ 298405 w 650784"/>
                <a:gd name="connsiteY11" fmla="*/ 86823 h 777240"/>
                <a:gd name="connsiteX12" fmla="*/ 517080 w 650784"/>
                <a:gd name="connsiteY12" fmla="*/ 34081 h 777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0784" h="777240">
                  <a:moveTo>
                    <a:pt x="517080" y="34081"/>
                  </a:moveTo>
                  <a:lnTo>
                    <a:pt x="590178" y="16501"/>
                  </a:lnTo>
                  <a:lnTo>
                    <a:pt x="649396" y="2313"/>
                  </a:lnTo>
                  <a:cubicBezTo>
                    <a:pt x="613927" y="10949"/>
                    <a:pt x="582159" y="46727"/>
                    <a:pt x="569822" y="92066"/>
                  </a:cubicBezTo>
                  <a:lnTo>
                    <a:pt x="432880" y="601590"/>
                  </a:lnTo>
                  <a:cubicBezTo>
                    <a:pt x="420542" y="647238"/>
                    <a:pt x="388774" y="683015"/>
                    <a:pt x="353305" y="691651"/>
                  </a:cubicBezTo>
                  <a:lnTo>
                    <a:pt x="123834" y="746860"/>
                  </a:lnTo>
                  <a:lnTo>
                    <a:pt x="61223" y="761973"/>
                  </a:lnTo>
                  <a:lnTo>
                    <a:pt x="2313" y="776161"/>
                  </a:lnTo>
                  <a:cubicBezTo>
                    <a:pt x="37783" y="767525"/>
                    <a:pt x="69551" y="731747"/>
                    <a:pt x="81888" y="686408"/>
                  </a:cubicBezTo>
                  <a:lnTo>
                    <a:pt x="218830" y="176884"/>
                  </a:lnTo>
                  <a:cubicBezTo>
                    <a:pt x="231167" y="131236"/>
                    <a:pt x="262935" y="95459"/>
                    <a:pt x="298405" y="86823"/>
                  </a:cubicBezTo>
                  <a:lnTo>
                    <a:pt x="517080" y="34081"/>
                  </a:lnTo>
                  <a:close/>
                </a:path>
              </a:pathLst>
            </a:custGeom>
            <a:gradFill>
              <a:gsLst>
                <a:gs pos="0">
                  <a:srgbClr val="FFE682"/>
                </a:gs>
                <a:gs pos="100000">
                  <a:srgbClr val="FFC61B"/>
                </a:gs>
              </a:gsLst>
              <a:lin ang="16800000" scaled="0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Прямоугольник 40">
              <a:extLst>
                <a:ext uri="{FF2B5EF4-FFF2-40B4-BE49-F238E27FC236}">
                  <a16:creationId xmlns="" xmlns:a16="http://schemas.microsoft.com/office/drawing/2014/main" id="{69FEB3E1-C356-4D7C-A9D6-63A214B562A4}"/>
                </a:ext>
              </a:extLst>
            </p:cNvPr>
            <p:cNvSpPr/>
            <p:nvPr/>
          </p:nvSpPr>
          <p:spPr>
            <a:xfrm>
              <a:off x="6976657" y="4190068"/>
              <a:ext cx="2250760" cy="1083374"/>
            </a:xfrm>
            <a:prstGeom prst="rect">
              <a:avLst/>
            </a:prstGeom>
          </p:spPr>
          <p:txBody>
            <a:bodyPr wrap="square" anchor="t">
              <a:spAutoFit/>
            </a:bodyPr>
            <a:lstStyle/>
            <a:p>
              <a:pPr lvl="0" algn="ctr">
                <a:defRPr/>
              </a:pPr>
              <a:r>
                <a:rPr lang="ru-RU" sz="3200" b="1" dirty="0">
                  <a:solidFill>
                    <a:srgbClr val="3C3837"/>
                  </a:solidFill>
                  <a:cs typeface="Calibri"/>
                </a:rPr>
                <a:t>33 </a:t>
              </a:r>
              <a:r>
                <a:rPr lang="ru-RU" sz="2400" b="1" dirty="0">
                  <a:solidFill>
                    <a:srgbClr val="3C3837"/>
                  </a:solidFill>
                  <a:cs typeface="Calibri"/>
                </a:rPr>
                <a:t>млрд ₽</a:t>
              </a:r>
              <a:r>
                <a:rPr lang="ru-RU" sz="3200" baseline="30000" dirty="0">
                  <a:solidFill>
                    <a:srgbClr val="3C3837"/>
                  </a:solidFill>
                  <a:cs typeface="Calibri"/>
                </a:rPr>
                <a:t> </a:t>
              </a:r>
            </a:p>
            <a:p>
              <a:pPr lvl="0" algn="ctr">
                <a:lnSpc>
                  <a:spcPct val="90000"/>
                </a:lnSpc>
                <a:defRPr/>
              </a:pPr>
              <a:r>
                <a:rPr lang="ru-RU" dirty="0">
                  <a:solidFill>
                    <a:srgbClr val="3C3837"/>
                  </a:solidFill>
                </a:rPr>
                <a:t>общая сумма поддержки</a:t>
              </a: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42" name="Рисунок 41">
              <a:extLst>
                <a:ext uri="{FF2B5EF4-FFF2-40B4-BE49-F238E27FC236}">
                  <a16:creationId xmlns="" xmlns:a16="http://schemas.microsoft.com/office/drawing/2014/main" id="{E2DB2398-D8B2-4700-815F-A469A6D7D63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706097" y="3408039"/>
              <a:ext cx="735016" cy="735016"/>
            </a:xfrm>
            <a:prstGeom prst="rect">
              <a:avLst/>
            </a:prstGeom>
          </p:spPr>
        </p:pic>
      </p:grpSp>
      <p:grpSp>
        <p:nvGrpSpPr>
          <p:cNvPr id="59" name="Группа 58">
            <a:extLst>
              <a:ext uri="{FF2B5EF4-FFF2-40B4-BE49-F238E27FC236}">
                <a16:creationId xmlns="" xmlns:a16="http://schemas.microsoft.com/office/drawing/2014/main" id="{80F31421-3AF0-40A7-BCCC-C2E50DD818E6}"/>
              </a:ext>
            </a:extLst>
          </p:cNvPr>
          <p:cNvGrpSpPr/>
          <p:nvPr/>
        </p:nvGrpSpPr>
        <p:grpSpPr>
          <a:xfrm>
            <a:off x="3467603" y="3799899"/>
            <a:ext cx="2448904" cy="2267699"/>
            <a:chOff x="4750793" y="3391107"/>
            <a:chExt cx="2448904" cy="2267699"/>
          </a:xfrm>
        </p:grpSpPr>
        <p:sp>
          <p:nvSpPr>
            <p:cNvPr id="44" name="Полилиния: фигура 43">
              <a:extLst>
                <a:ext uri="{FF2B5EF4-FFF2-40B4-BE49-F238E27FC236}">
                  <a16:creationId xmlns="" xmlns:a16="http://schemas.microsoft.com/office/drawing/2014/main" id="{C7AF36BB-8F33-47D7-931B-3A2357DCF001}"/>
                </a:ext>
              </a:extLst>
            </p:cNvPr>
            <p:cNvSpPr/>
            <p:nvPr/>
          </p:nvSpPr>
          <p:spPr>
            <a:xfrm>
              <a:off x="5210724" y="4184073"/>
              <a:ext cx="465513" cy="555969"/>
            </a:xfrm>
            <a:custGeom>
              <a:avLst/>
              <a:gdLst>
                <a:gd name="connsiteX0" fmla="*/ 517080 w 650784"/>
                <a:gd name="connsiteY0" fmla="*/ 34081 h 777240"/>
                <a:gd name="connsiteX1" fmla="*/ 590178 w 650784"/>
                <a:gd name="connsiteY1" fmla="*/ 16501 h 777240"/>
                <a:gd name="connsiteX2" fmla="*/ 649396 w 650784"/>
                <a:gd name="connsiteY2" fmla="*/ 2313 h 777240"/>
                <a:gd name="connsiteX3" fmla="*/ 569822 w 650784"/>
                <a:gd name="connsiteY3" fmla="*/ 92066 h 777240"/>
                <a:gd name="connsiteX4" fmla="*/ 432880 w 650784"/>
                <a:gd name="connsiteY4" fmla="*/ 601590 h 777240"/>
                <a:gd name="connsiteX5" fmla="*/ 353305 w 650784"/>
                <a:gd name="connsiteY5" fmla="*/ 691651 h 777240"/>
                <a:gd name="connsiteX6" fmla="*/ 123834 w 650784"/>
                <a:gd name="connsiteY6" fmla="*/ 746860 h 777240"/>
                <a:gd name="connsiteX7" fmla="*/ 61223 w 650784"/>
                <a:gd name="connsiteY7" fmla="*/ 761973 h 777240"/>
                <a:gd name="connsiteX8" fmla="*/ 2313 w 650784"/>
                <a:gd name="connsiteY8" fmla="*/ 776161 h 777240"/>
                <a:gd name="connsiteX9" fmla="*/ 81888 w 650784"/>
                <a:gd name="connsiteY9" fmla="*/ 686408 h 777240"/>
                <a:gd name="connsiteX10" fmla="*/ 218830 w 650784"/>
                <a:gd name="connsiteY10" fmla="*/ 176884 h 777240"/>
                <a:gd name="connsiteX11" fmla="*/ 298405 w 650784"/>
                <a:gd name="connsiteY11" fmla="*/ 86823 h 777240"/>
                <a:gd name="connsiteX12" fmla="*/ 517080 w 650784"/>
                <a:gd name="connsiteY12" fmla="*/ 34081 h 777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0784" h="777240">
                  <a:moveTo>
                    <a:pt x="517080" y="34081"/>
                  </a:moveTo>
                  <a:lnTo>
                    <a:pt x="590178" y="16501"/>
                  </a:lnTo>
                  <a:lnTo>
                    <a:pt x="649396" y="2313"/>
                  </a:lnTo>
                  <a:cubicBezTo>
                    <a:pt x="613927" y="10949"/>
                    <a:pt x="582159" y="46727"/>
                    <a:pt x="569822" y="92066"/>
                  </a:cubicBezTo>
                  <a:lnTo>
                    <a:pt x="432880" y="601590"/>
                  </a:lnTo>
                  <a:cubicBezTo>
                    <a:pt x="420542" y="647238"/>
                    <a:pt x="388774" y="683015"/>
                    <a:pt x="353305" y="691651"/>
                  </a:cubicBezTo>
                  <a:lnTo>
                    <a:pt x="123834" y="746860"/>
                  </a:lnTo>
                  <a:lnTo>
                    <a:pt x="61223" y="761973"/>
                  </a:lnTo>
                  <a:lnTo>
                    <a:pt x="2313" y="776161"/>
                  </a:lnTo>
                  <a:cubicBezTo>
                    <a:pt x="37783" y="767525"/>
                    <a:pt x="69551" y="731747"/>
                    <a:pt x="81888" y="686408"/>
                  </a:cubicBezTo>
                  <a:lnTo>
                    <a:pt x="218830" y="176884"/>
                  </a:lnTo>
                  <a:cubicBezTo>
                    <a:pt x="231167" y="131236"/>
                    <a:pt x="262935" y="95459"/>
                    <a:pt x="298405" y="86823"/>
                  </a:cubicBezTo>
                  <a:lnTo>
                    <a:pt x="517080" y="34081"/>
                  </a:lnTo>
                  <a:close/>
                </a:path>
              </a:pathLst>
            </a:custGeom>
            <a:gradFill>
              <a:gsLst>
                <a:gs pos="0">
                  <a:srgbClr val="FFE682"/>
                </a:gs>
                <a:gs pos="100000">
                  <a:srgbClr val="FFC61B"/>
                </a:gs>
              </a:gsLst>
              <a:lin ang="16800000" scaled="0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Прямоугольник 44">
              <a:extLst>
                <a:ext uri="{FF2B5EF4-FFF2-40B4-BE49-F238E27FC236}">
                  <a16:creationId xmlns="" xmlns:a16="http://schemas.microsoft.com/office/drawing/2014/main" id="{DC0773A0-6D9C-49E2-860E-52FBFD01B171}"/>
                </a:ext>
              </a:extLst>
            </p:cNvPr>
            <p:cNvSpPr/>
            <p:nvPr/>
          </p:nvSpPr>
          <p:spPr>
            <a:xfrm>
              <a:off x="4750793" y="4236878"/>
              <a:ext cx="2448904" cy="1421928"/>
            </a:xfrm>
            <a:prstGeom prst="rect">
              <a:avLst/>
            </a:prstGeom>
          </p:spPr>
          <p:txBody>
            <a:bodyPr wrap="square" anchor="t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ru-RU" sz="3200" b="1" dirty="0">
                  <a:solidFill>
                    <a:srgbClr val="3C3837"/>
                  </a:solidFill>
                  <a:cs typeface="Calibri"/>
                </a:rPr>
                <a:t>15 877</a:t>
              </a:r>
              <a:br>
                <a:rPr lang="ru-RU" sz="3200" b="1" dirty="0">
                  <a:solidFill>
                    <a:srgbClr val="3C3837"/>
                  </a:solidFill>
                  <a:cs typeface="Calibri"/>
                </a:rPr>
              </a:br>
              <a:r>
                <a:rPr lang="ru-RU" dirty="0">
                  <a:solidFill>
                    <a:srgbClr val="3C3837"/>
                  </a:solidFill>
                </a:rPr>
                <a:t>проектов получили поддержку</a:t>
              </a:r>
              <a:br>
                <a:rPr lang="ru-RU" dirty="0">
                  <a:solidFill>
                    <a:srgbClr val="3C3837"/>
                  </a:solidFill>
                </a:rPr>
              </a:br>
              <a:endParaRPr lang="ru-RU" sz="2800" dirty="0">
                <a:solidFill>
                  <a:srgbClr val="3C3837"/>
                </a:solidFill>
                <a:cs typeface="Calibri"/>
              </a:endParaRPr>
            </a:p>
          </p:txBody>
        </p:sp>
        <p:pic>
          <p:nvPicPr>
            <p:cNvPr id="46" name="Рисунок 45">
              <a:extLst>
                <a:ext uri="{FF2B5EF4-FFF2-40B4-BE49-F238E27FC236}">
                  <a16:creationId xmlns="" xmlns:a16="http://schemas.microsoft.com/office/drawing/2014/main" id="{2B28C797-D4C4-4500-A483-7652217EBE6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=""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5679636" y="3391107"/>
              <a:ext cx="591218" cy="774366"/>
            </a:xfrm>
            <a:prstGeom prst="rect">
              <a:avLst/>
            </a:prstGeom>
          </p:spPr>
        </p:pic>
      </p:grpSp>
      <p:grpSp>
        <p:nvGrpSpPr>
          <p:cNvPr id="52" name="Группа 51">
            <a:extLst>
              <a:ext uri="{FF2B5EF4-FFF2-40B4-BE49-F238E27FC236}">
                <a16:creationId xmlns="" xmlns:a16="http://schemas.microsoft.com/office/drawing/2014/main" id="{A5C1C61D-0078-4E10-A0F3-0B976367D455}"/>
              </a:ext>
            </a:extLst>
          </p:cNvPr>
          <p:cNvGrpSpPr/>
          <p:nvPr/>
        </p:nvGrpSpPr>
        <p:grpSpPr>
          <a:xfrm>
            <a:off x="571499" y="3808917"/>
            <a:ext cx="2650080" cy="1618022"/>
            <a:chOff x="2540219" y="3400125"/>
            <a:chExt cx="2650080" cy="1618022"/>
          </a:xfrm>
        </p:grpSpPr>
        <p:pic>
          <p:nvPicPr>
            <p:cNvPr id="53" name="Рисунок 52">
              <a:extLst>
                <a:ext uri="{FF2B5EF4-FFF2-40B4-BE49-F238E27FC236}">
                  <a16:creationId xmlns="" xmlns:a16="http://schemas.microsoft.com/office/drawing/2014/main" id="{96C8A0B7-C9EC-4CF6-BF5F-41EC84A906B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=""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3580469" y="3400125"/>
              <a:ext cx="491018" cy="694488"/>
            </a:xfrm>
            <a:prstGeom prst="rect">
              <a:avLst/>
            </a:prstGeom>
          </p:spPr>
        </p:pic>
        <p:sp>
          <p:nvSpPr>
            <p:cNvPr id="54" name="Полилиния: фигура 53">
              <a:extLst>
                <a:ext uri="{FF2B5EF4-FFF2-40B4-BE49-F238E27FC236}">
                  <a16:creationId xmlns="" xmlns:a16="http://schemas.microsoft.com/office/drawing/2014/main" id="{452E7412-B1B7-45C5-8DCE-BD7A3BAE99CC}"/>
                </a:ext>
              </a:extLst>
            </p:cNvPr>
            <p:cNvSpPr/>
            <p:nvPr/>
          </p:nvSpPr>
          <p:spPr>
            <a:xfrm>
              <a:off x="3132326" y="4165415"/>
              <a:ext cx="465513" cy="555969"/>
            </a:xfrm>
            <a:custGeom>
              <a:avLst/>
              <a:gdLst>
                <a:gd name="connsiteX0" fmla="*/ 517080 w 650784"/>
                <a:gd name="connsiteY0" fmla="*/ 34081 h 777240"/>
                <a:gd name="connsiteX1" fmla="*/ 590178 w 650784"/>
                <a:gd name="connsiteY1" fmla="*/ 16501 h 777240"/>
                <a:gd name="connsiteX2" fmla="*/ 649396 w 650784"/>
                <a:gd name="connsiteY2" fmla="*/ 2313 h 777240"/>
                <a:gd name="connsiteX3" fmla="*/ 569822 w 650784"/>
                <a:gd name="connsiteY3" fmla="*/ 92066 h 777240"/>
                <a:gd name="connsiteX4" fmla="*/ 432880 w 650784"/>
                <a:gd name="connsiteY4" fmla="*/ 601590 h 777240"/>
                <a:gd name="connsiteX5" fmla="*/ 353305 w 650784"/>
                <a:gd name="connsiteY5" fmla="*/ 691651 h 777240"/>
                <a:gd name="connsiteX6" fmla="*/ 123834 w 650784"/>
                <a:gd name="connsiteY6" fmla="*/ 746860 h 777240"/>
                <a:gd name="connsiteX7" fmla="*/ 61223 w 650784"/>
                <a:gd name="connsiteY7" fmla="*/ 761973 h 777240"/>
                <a:gd name="connsiteX8" fmla="*/ 2313 w 650784"/>
                <a:gd name="connsiteY8" fmla="*/ 776161 h 777240"/>
                <a:gd name="connsiteX9" fmla="*/ 81888 w 650784"/>
                <a:gd name="connsiteY9" fmla="*/ 686408 h 777240"/>
                <a:gd name="connsiteX10" fmla="*/ 218830 w 650784"/>
                <a:gd name="connsiteY10" fmla="*/ 176884 h 777240"/>
                <a:gd name="connsiteX11" fmla="*/ 298405 w 650784"/>
                <a:gd name="connsiteY11" fmla="*/ 86823 h 777240"/>
                <a:gd name="connsiteX12" fmla="*/ 517080 w 650784"/>
                <a:gd name="connsiteY12" fmla="*/ 34081 h 777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0784" h="777240">
                  <a:moveTo>
                    <a:pt x="517080" y="34081"/>
                  </a:moveTo>
                  <a:lnTo>
                    <a:pt x="590178" y="16501"/>
                  </a:lnTo>
                  <a:lnTo>
                    <a:pt x="649396" y="2313"/>
                  </a:lnTo>
                  <a:cubicBezTo>
                    <a:pt x="613927" y="10949"/>
                    <a:pt x="582159" y="46727"/>
                    <a:pt x="569822" y="92066"/>
                  </a:cubicBezTo>
                  <a:lnTo>
                    <a:pt x="432880" y="601590"/>
                  </a:lnTo>
                  <a:cubicBezTo>
                    <a:pt x="420542" y="647238"/>
                    <a:pt x="388774" y="683015"/>
                    <a:pt x="353305" y="691651"/>
                  </a:cubicBezTo>
                  <a:lnTo>
                    <a:pt x="123834" y="746860"/>
                  </a:lnTo>
                  <a:lnTo>
                    <a:pt x="61223" y="761973"/>
                  </a:lnTo>
                  <a:lnTo>
                    <a:pt x="2313" y="776161"/>
                  </a:lnTo>
                  <a:cubicBezTo>
                    <a:pt x="37783" y="767525"/>
                    <a:pt x="69551" y="731747"/>
                    <a:pt x="81888" y="686408"/>
                  </a:cubicBezTo>
                  <a:lnTo>
                    <a:pt x="218830" y="176884"/>
                  </a:lnTo>
                  <a:cubicBezTo>
                    <a:pt x="231167" y="131236"/>
                    <a:pt x="262935" y="95459"/>
                    <a:pt x="298405" y="86823"/>
                  </a:cubicBezTo>
                  <a:lnTo>
                    <a:pt x="517080" y="34081"/>
                  </a:lnTo>
                  <a:close/>
                </a:path>
              </a:pathLst>
            </a:custGeom>
            <a:gradFill>
              <a:gsLst>
                <a:gs pos="0">
                  <a:srgbClr val="FFE682"/>
                </a:gs>
                <a:gs pos="100000">
                  <a:srgbClr val="FFC61B"/>
                </a:gs>
              </a:gsLst>
              <a:lin ang="16800000" scaled="0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Прямоугольник 54">
              <a:extLst>
                <a:ext uri="{FF2B5EF4-FFF2-40B4-BE49-F238E27FC236}">
                  <a16:creationId xmlns="" xmlns:a16="http://schemas.microsoft.com/office/drawing/2014/main" id="{7D8889AC-E543-4F74-804C-B04E2E786715}"/>
                </a:ext>
              </a:extLst>
            </p:cNvPr>
            <p:cNvSpPr/>
            <p:nvPr/>
          </p:nvSpPr>
          <p:spPr>
            <a:xfrm>
              <a:off x="2540219" y="4184073"/>
              <a:ext cx="2650080" cy="834074"/>
            </a:xfrm>
            <a:prstGeom prst="rect">
              <a:avLst/>
            </a:prstGeom>
          </p:spPr>
          <p:txBody>
            <a:bodyPr wrap="square" anchor="t">
              <a:spAutoFit/>
            </a:bodyPr>
            <a:lstStyle/>
            <a:p>
              <a:pPr lvl="0" algn="ctr">
                <a:defRPr/>
              </a:pPr>
              <a:r>
                <a:rPr lang="ru-RU" sz="3200" b="1" dirty="0">
                  <a:solidFill>
                    <a:srgbClr val="3C3837"/>
                  </a:solidFill>
                  <a:cs typeface="Calibri"/>
                </a:rPr>
                <a:t>77 506 </a:t>
              </a:r>
            </a:p>
            <a:p>
              <a:pPr lvl="0" algn="ctr">
                <a:lnSpc>
                  <a:spcPct val="90000"/>
                </a:lnSpc>
                <a:defRPr/>
              </a:pPr>
              <a:r>
                <a:rPr lang="ru-RU" dirty="0">
                  <a:solidFill>
                    <a:srgbClr val="3C3837"/>
                  </a:solidFill>
                </a:rPr>
                <a:t>проектов подано</a:t>
              </a:r>
              <a:endParaRPr kumimoji="0" lang="ru-RU" sz="180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</a:endParaRPr>
            </a:p>
          </p:txBody>
        </p:sp>
      </p:grpSp>
      <p:grpSp>
        <p:nvGrpSpPr>
          <p:cNvPr id="33" name="Группа 32">
            <a:extLst>
              <a:ext uri="{FF2B5EF4-FFF2-40B4-BE49-F238E27FC236}">
                <a16:creationId xmlns="" xmlns:a16="http://schemas.microsoft.com/office/drawing/2014/main" id="{9A870365-88C2-47D9-B1C2-1749F591AD35}"/>
              </a:ext>
            </a:extLst>
          </p:cNvPr>
          <p:cNvGrpSpPr/>
          <p:nvPr/>
        </p:nvGrpSpPr>
        <p:grpSpPr>
          <a:xfrm>
            <a:off x="9135624" y="4592865"/>
            <a:ext cx="2390416" cy="1089369"/>
            <a:chOff x="8618761" y="1818834"/>
            <a:chExt cx="2390416" cy="1089369"/>
          </a:xfrm>
        </p:grpSpPr>
        <p:sp>
          <p:nvSpPr>
            <p:cNvPr id="34" name="Полилиния: фигура 33">
              <a:extLst>
                <a:ext uri="{FF2B5EF4-FFF2-40B4-BE49-F238E27FC236}">
                  <a16:creationId xmlns="" xmlns:a16="http://schemas.microsoft.com/office/drawing/2014/main" id="{382E754A-BDAB-432E-AE58-9F15F3476A3F}"/>
                </a:ext>
              </a:extLst>
            </p:cNvPr>
            <p:cNvSpPr/>
            <p:nvPr/>
          </p:nvSpPr>
          <p:spPr>
            <a:xfrm>
              <a:off x="8989513" y="1818834"/>
              <a:ext cx="465513" cy="555969"/>
            </a:xfrm>
            <a:custGeom>
              <a:avLst/>
              <a:gdLst>
                <a:gd name="connsiteX0" fmla="*/ 517080 w 650784"/>
                <a:gd name="connsiteY0" fmla="*/ 34081 h 777240"/>
                <a:gd name="connsiteX1" fmla="*/ 590178 w 650784"/>
                <a:gd name="connsiteY1" fmla="*/ 16501 h 777240"/>
                <a:gd name="connsiteX2" fmla="*/ 649396 w 650784"/>
                <a:gd name="connsiteY2" fmla="*/ 2313 h 777240"/>
                <a:gd name="connsiteX3" fmla="*/ 569822 w 650784"/>
                <a:gd name="connsiteY3" fmla="*/ 92066 h 777240"/>
                <a:gd name="connsiteX4" fmla="*/ 432880 w 650784"/>
                <a:gd name="connsiteY4" fmla="*/ 601590 h 777240"/>
                <a:gd name="connsiteX5" fmla="*/ 353305 w 650784"/>
                <a:gd name="connsiteY5" fmla="*/ 691651 h 777240"/>
                <a:gd name="connsiteX6" fmla="*/ 123834 w 650784"/>
                <a:gd name="connsiteY6" fmla="*/ 746860 h 777240"/>
                <a:gd name="connsiteX7" fmla="*/ 61223 w 650784"/>
                <a:gd name="connsiteY7" fmla="*/ 761973 h 777240"/>
                <a:gd name="connsiteX8" fmla="*/ 2313 w 650784"/>
                <a:gd name="connsiteY8" fmla="*/ 776161 h 777240"/>
                <a:gd name="connsiteX9" fmla="*/ 81888 w 650784"/>
                <a:gd name="connsiteY9" fmla="*/ 686408 h 777240"/>
                <a:gd name="connsiteX10" fmla="*/ 218830 w 650784"/>
                <a:gd name="connsiteY10" fmla="*/ 176884 h 777240"/>
                <a:gd name="connsiteX11" fmla="*/ 298405 w 650784"/>
                <a:gd name="connsiteY11" fmla="*/ 86823 h 777240"/>
                <a:gd name="connsiteX12" fmla="*/ 517080 w 650784"/>
                <a:gd name="connsiteY12" fmla="*/ 34081 h 777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0784" h="777240">
                  <a:moveTo>
                    <a:pt x="517080" y="34081"/>
                  </a:moveTo>
                  <a:lnTo>
                    <a:pt x="590178" y="16501"/>
                  </a:lnTo>
                  <a:lnTo>
                    <a:pt x="649396" y="2313"/>
                  </a:lnTo>
                  <a:cubicBezTo>
                    <a:pt x="613927" y="10949"/>
                    <a:pt x="582159" y="46727"/>
                    <a:pt x="569822" y="92066"/>
                  </a:cubicBezTo>
                  <a:lnTo>
                    <a:pt x="432880" y="601590"/>
                  </a:lnTo>
                  <a:cubicBezTo>
                    <a:pt x="420542" y="647238"/>
                    <a:pt x="388774" y="683015"/>
                    <a:pt x="353305" y="691651"/>
                  </a:cubicBezTo>
                  <a:lnTo>
                    <a:pt x="123834" y="746860"/>
                  </a:lnTo>
                  <a:lnTo>
                    <a:pt x="61223" y="761973"/>
                  </a:lnTo>
                  <a:lnTo>
                    <a:pt x="2313" y="776161"/>
                  </a:lnTo>
                  <a:cubicBezTo>
                    <a:pt x="37783" y="767525"/>
                    <a:pt x="69551" y="731747"/>
                    <a:pt x="81888" y="686408"/>
                  </a:cubicBezTo>
                  <a:lnTo>
                    <a:pt x="218830" y="176884"/>
                  </a:lnTo>
                  <a:cubicBezTo>
                    <a:pt x="231167" y="131236"/>
                    <a:pt x="262935" y="95459"/>
                    <a:pt x="298405" y="86823"/>
                  </a:cubicBezTo>
                  <a:lnTo>
                    <a:pt x="517080" y="34081"/>
                  </a:lnTo>
                  <a:close/>
                </a:path>
              </a:pathLst>
            </a:custGeom>
            <a:gradFill>
              <a:gsLst>
                <a:gs pos="0">
                  <a:srgbClr val="FFE682"/>
                </a:gs>
                <a:gs pos="100000">
                  <a:srgbClr val="FFC61B"/>
                </a:gs>
              </a:gsLst>
              <a:lin ang="16800000" scaled="0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Прямоугольник 35">
              <a:extLst>
                <a:ext uri="{FF2B5EF4-FFF2-40B4-BE49-F238E27FC236}">
                  <a16:creationId xmlns="" xmlns:a16="http://schemas.microsoft.com/office/drawing/2014/main" id="{8D5DB137-712E-4418-92CD-A4D8131E1C2B}"/>
                </a:ext>
              </a:extLst>
            </p:cNvPr>
            <p:cNvSpPr/>
            <p:nvPr/>
          </p:nvSpPr>
          <p:spPr>
            <a:xfrm>
              <a:off x="8618761" y="1824829"/>
              <a:ext cx="2390416" cy="1083374"/>
            </a:xfrm>
            <a:prstGeom prst="rect">
              <a:avLst/>
            </a:prstGeom>
          </p:spPr>
          <p:txBody>
            <a:bodyPr wrap="square" anchor="t">
              <a:spAutoFit/>
            </a:bodyPr>
            <a:lstStyle/>
            <a:p>
              <a:pPr lvl="0" algn="ctr">
                <a:defRPr/>
              </a:pPr>
              <a:r>
                <a:rPr lang="ru-RU" sz="3200" b="1" dirty="0">
                  <a:solidFill>
                    <a:srgbClr val="3C3837"/>
                  </a:solidFill>
                  <a:cs typeface="Calibri"/>
                </a:rPr>
                <a:t>23 </a:t>
              </a:r>
              <a:r>
                <a:rPr lang="ru-RU" sz="2400" b="1" dirty="0">
                  <a:solidFill>
                    <a:srgbClr val="3C3837"/>
                  </a:solidFill>
                  <a:cs typeface="Calibri"/>
                </a:rPr>
                <a:t>млрд ₽</a:t>
              </a:r>
              <a:r>
                <a:rPr lang="ru-RU" sz="3200" baseline="30000" dirty="0">
                  <a:solidFill>
                    <a:srgbClr val="3C3837"/>
                  </a:solidFill>
                  <a:cs typeface="Calibri"/>
                </a:rPr>
                <a:t> </a:t>
              </a:r>
            </a:p>
            <a:p>
              <a:pPr lvl="0" algn="ctr">
                <a:lnSpc>
                  <a:spcPct val="90000"/>
                </a:lnSpc>
                <a:defRPr/>
              </a:pPr>
              <a:r>
                <a:rPr lang="ru-RU" sz="1800" dirty="0"/>
                <a:t>сумма привлекаемого софинансирования</a:t>
              </a: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2" name="Рисунок 1">
            <a:extLst>
              <a:ext uri="{FF2B5EF4-FFF2-40B4-BE49-F238E27FC236}">
                <a16:creationId xmlns="" xmlns:a16="http://schemas.microsoft.com/office/drawing/2014/main" id="{EED26935-1B31-4629-A903-DB8D328CE2EF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=""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9938165" y="3881600"/>
            <a:ext cx="945630" cy="593922"/>
          </a:xfrm>
          <a:prstGeom prst="rect">
            <a:avLst/>
          </a:prstGeom>
        </p:spPr>
      </p:pic>
      <p:grpSp>
        <p:nvGrpSpPr>
          <p:cNvPr id="6" name="Группа 5">
            <a:extLst>
              <a:ext uri="{FF2B5EF4-FFF2-40B4-BE49-F238E27FC236}">
                <a16:creationId xmlns="" xmlns:a16="http://schemas.microsoft.com/office/drawing/2014/main" id="{E8D9CB09-3E8C-46B3-BF42-B38FC2417B1D}"/>
              </a:ext>
            </a:extLst>
          </p:cNvPr>
          <p:cNvGrpSpPr/>
          <p:nvPr/>
        </p:nvGrpSpPr>
        <p:grpSpPr>
          <a:xfrm>
            <a:off x="3195588" y="3806509"/>
            <a:ext cx="5774837" cy="1840725"/>
            <a:chOff x="4878796" y="1914860"/>
            <a:chExt cx="4264946" cy="3247185"/>
          </a:xfrm>
        </p:grpSpPr>
        <p:cxnSp>
          <p:nvCxnSpPr>
            <p:cNvPr id="58" name="Прямая со стрелкой 57">
              <a:extLst>
                <a:ext uri="{FF2B5EF4-FFF2-40B4-BE49-F238E27FC236}">
                  <a16:creationId xmlns="" xmlns:a16="http://schemas.microsoft.com/office/drawing/2014/main" id="{1F743606-F7A6-4F20-B9AF-791AA4B93A9D}"/>
                </a:ext>
              </a:extLst>
            </p:cNvPr>
            <p:cNvCxnSpPr>
              <a:cxnSpLocks/>
            </p:cNvCxnSpPr>
            <p:nvPr/>
          </p:nvCxnSpPr>
          <p:spPr>
            <a:xfrm>
              <a:off x="4878796" y="1914860"/>
              <a:ext cx="0" cy="3247185"/>
            </a:xfrm>
            <a:prstGeom prst="straightConnector1">
              <a:avLst/>
            </a:prstGeom>
            <a:noFill/>
            <a:ln w="28575" cap="rnd" cmpd="sng" algn="ctr">
              <a:solidFill>
                <a:srgbClr val="FFD415"/>
              </a:solidFill>
              <a:prstDash val="sysDot"/>
              <a:round/>
              <a:tailEnd type="none" w="lg" len="lg"/>
            </a:ln>
            <a:effectLst/>
          </p:spPr>
        </p:cxnSp>
        <p:cxnSp>
          <p:nvCxnSpPr>
            <p:cNvPr id="60" name="Прямая со стрелкой 59">
              <a:extLst>
                <a:ext uri="{FF2B5EF4-FFF2-40B4-BE49-F238E27FC236}">
                  <a16:creationId xmlns="" xmlns:a16="http://schemas.microsoft.com/office/drawing/2014/main" id="{FE3DC34E-0DB0-420D-9970-49A8AB365D2B}"/>
                </a:ext>
              </a:extLst>
            </p:cNvPr>
            <p:cNvCxnSpPr>
              <a:cxnSpLocks/>
            </p:cNvCxnSpPr>
            <p:nvPr/>
          </p:nvCxnSpPr>
          <p:spPr>
            <a:xfrm>
              <a:off x="7020302" y="1914860"/>
              <a:ext cx="0" cy="3247185"/>
            </a:xfrm>
            <a:prstGeom prst="straightConnector1">
              <a:avLst/>
            </a:prstGeom>
            <a:noFill/>
            <a:ln w="28575" cap="rnd" cmpd="sng" algn="ctr">
              <a:solidFill>
                <a:srgbClr val="FFD415"/>
              </a:solidFill>
              <a:prstDash val="sysDot"/>
              <a:round/>
              <a:tailEnd type="none" w="lg" len="lg"/>
            </a:ln>
            <a:effectLst/>
          </p:spPr>
        </p:cxnSp>
        <p:cxnSp>
          <p:nvCxnSpPr>
            <p:cNvPr id="35" name="Прямая со стрелкой 34">
              <a:extLst>
                <a:ext uri="{FF2B5EF4-FFF2-40B4-BE49-F238E27FC236}">
                  <a16:creationId xmlns="" xmlns:a16="http://schemas.microsoft.com/office/drawing/2014/main" id="{68B7AA00-6E9B-4765-91D3-CC060795C3BF}"/>
                </a:ext>
              </a:extLst>
            </p:cNvPr>
            <p:cNvCxnSpPr>
              <a:cxnSpLocks/>
            </p:cNvCxnSpPr>
            <p:nvPr/>
          </p:nvCxnSpPr>
          <p:spPr>
            <a:xfrm>
              <a:off x="9143742" y="1914860"/>
              <a:ext cx="0" cy="3247185"/>
            </a:xfrm>
            <a:prstGeom prst="straightConnector1">
              <a:avLst/>
            </a:prstGeom>
            <a:noFill/>
            <a:ln w="28575" cap="rnd" cmpd="sng" algn="ctr">
              <a:solidFill>
                <a:srgbClr val="FFD415"/>
              </a:solidFill>
              <a:prstDash val="sysDot"/>
              <a:round/>
              <a:tailEnd type="none" w="lg" len="lg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1149410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Прямоугольник 40">
            <a:extLst>
              <a:ext uri="{FF2B5EF4-FFF2-40B4-BE49-F238E27FC236}">
                <a16:creationId xmlns="" xmlns:a16="http://schemas.microsoft.com/office/drawing/2014/main" id="{1FB4600D-2120-4CBF-B2F9-AFF871374EBF}"/>
              </a:ext>
            </a:extLst>
          </p:cNvPr>
          <p:cNvSpPr/>
          <p:nvPr/>
        </p:nvSpPr>
        <p:spPr>
          <a:xfrm>
            <a:off x="7240218" y="1120493"/>
            <a:ext cx="4179220" cy="5185457"/>
          </a:xfrm>
          <a:prstGeom prst="rect">
            <a:avLst/>
          </a:prstGeom>
          <a:solidFill>
            <a:srgbClr val="FFFFFF"/>
          </a:solidFill>
          <a:ln w="6350" cap="flat">
            <a:solidFill>
              <a:srgbClr val="4C3B21">
                <a:alpha val="17000"/>
              </a:srgbClr>
            </a:solidFill>
            <a:prstDash val="solid"/>
            <a:miter lim="800000"/>
          </a:ln>
          <a:effectLst>
            <a:outerShdw blurRad="304800" rotWithShape="0">
              <a:srgbClr val="6B522E">
                <a:alpha val="28000"/>
              </a:srgbClr>
            </a:outerShdw>
          </a:effectLst>
        </p:spPr>
        <p:txBody>
          <a:bodyPr rot="0" spcFirstLastPara="0" vertOverflow="overflow" horzOverflow="overflow" vert="horz" wrap="square" lIns="45719" tIns="45719" rIns="4571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53" name="Прямоугольник 52">
            <a:extLst>
              <a:ext uri="{FF2B5EF4-FFF2-40B4-BE49-F238E27FC236}">
                <a16:creationId xmlns="" xmlns:a16="http://schemas.microsoft.com/office/drawing/2014/main" id="{9161B8D2-358F-4D08-9E32-54D3E81149D1}"/>
              </a:ext>
            </a:extLst>
          </p:cNvPr>
          <p:cNvSpPr/>
          <p:nvPr/>
        </p:nvSpPr>
        <p:spPr>
          <a:xfrm rot="5400000">
            <a:off x="-248931" y="2191135"/>
            <a:ext cx="5185457" cy="3044181"/>
          </a:xfrm>
          <a:prstGeom prst="rect">
            <a:avLst/>
          </a:prstGeom>
          <a:solidFill>
            <a:srgbClr val="FFFFFF"/>
          </a:solidFill>
          <a:ln w="6350" cap="flat">
            <a:solidFill>
              <a:srgbClr val="4C3B21">
                <a:alpha val="17000"/>
              </a:srgbClr>
            </a:solidFill>
            <a:prstDash val="solid"/>
            <a:miter lim="800000"/>
          </a:ln>
          <a:effectLst>
            <a:outerShdw blurRad="304800" rotWithShape="0">
              <a:srgbClr val="6B522E">
                <a:alpha val="28000"/>
              </a:srgbClr>
            </a:outerShdw>
          </a:effectLst>
        </p:spPr>
        <p:txBody>
          <a:bodyPr rot="0" spcFirstLastPara="0" vertOverflow="overflow" horzOverflow="overflow" vert="horz" wrap="square" lIns="45719" tIns="45719" rIns="4571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7" name="Заголовок 6">
            <a:extLst>
              <a:ext uri="{FF2B5EF4-FFF2-40B4-BE49-F238E27FC236}">
                <a16:creationId xmlns="" xmlns:a16="http://schemas.microsoft.com/office/drawing/2014/main" id="{7E64E1A8-33AA-4E3C-A4AF-EE0319E5AB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учающие мероприятия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38719D97-798C-4180-9E1F-70A372FDC3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F89439AD-A166-441A-9978-3BDD957F123B}" type="slidenum">
              <a:rPr lang="ru-RU" noProof="0" smtClean="0"/>
              <a:pPr lvl="0"/>
              <a:t>3</a:t>
            </a:fld>
            <a:endParaRPr lang="ru-RU" noProof="0"/>
          </a:p>
        </p:txBody>
      </p:sp>
      <p:sp>
        <p:nvSpPr>
          <p:cNvPr id="5" name="Объект 4">
            <a:extLst>
              <a:ext uri="{FF2B5EF4-FFF2-40B4-BE49-F238E27FC236}">
                <a16:creationId xmlns="" xmlns:a16="http://schemas.microsoft.com/office/drawing/2014/main" id="{19491F28-F1D0-4374-AD77-89496371A584}"/>
              </a:ext>
            </a:extLst>
          </p:cNvPr>
          <p:cNvSpPr txBox="1">
            <a:spLocks/>
          </p:cNvSpPr>
          <p:nvPr/>
        </p:nvSpPr>
        <p:spPr>
          <a:xfrm>
            <a:off x="608160" y="1354114"/>
            <a:ext cx="3205862" cy="256047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 kern="1200">
                <a:solidFill>
                  <a:srgbClr val="3C3837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rgbClr val="3C3837"/>
                </a:solidFill>
                <a:latin typeface="+mn-lt"/>
                <a:ea typeface="+mn-ea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ru-RU" sz="2800" b="1" i="0" u="none" strike="noStrike" kern="1200" cap="none" spc="0" normalizeH="0" baseline="0" noProof="0">
              <a:ln>
                <a:noFill/>
              </a:ln>
              <a:solidFill>
                <a:srgbClr val="E9DECD">
                  <a:lumMod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Объект 2">
            <a:extLst>
              <a:ext uri="{FF2B5EF4-FFF2-40B4-BE49-F238E27FC236}">
                <a16:creationId xmlns="" xmlns:a16="http://schemas.microsoft.com/office/drawing/2014/main" id="{537D30AB-A5DD-4C18-BE00-37FE153B340F}"/>
              </a:ext>
            </a:extLst>
          </p:cNvPr>
          <p:cNvSpPr txBox="1">
            <a:spLocks/>
          </p:cNvSpPr>
          <p:nvPr/>
        </p:nvSpPr>
        <p:spPr>
          <a:xfrm>
            <a:off x="4722050" y="1396634"/>
            <a:ext cx="5086961" cy="421214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 kern="1200">
                <a:solidFill>
                  <a:srgbClr val="3C3837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rgbClr val="3C3837"/>
                </a:solidFill>
                <a:latin typeface="+mn-lt"/>
                <a:ea typeface="+mn-ea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D415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2200" b="0" i="0" u="none" strike="noStrike" kern="1200" cap="none" spc="0" normalizeH="0" baseline="0" noProof="0">
              <a:ln>
                <a:noFill/>
              </a:ln>
              <a:solidFill>
                <a:srgbClr val="3C383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Заголовок 6">
            <a:extLst>
              <a:ext uri="{FF2B5EF4-FFF2-40B4-BE49-F238E27FC236}">
                <a16:creationId xmlns="" xmlns:a16="http://schemas.microsoft.com/office/drawing/2014/main" id="{FA9C5523-CA1A-0642-88DD-4D9EC29BBFB4}"/>
              </a:ext>
            </a:extLst>
          </p:cNvPr>
          <p:cNvSpPr txBox="1">
            <a:spLocks/>
          </p:cNvSpPr>
          <p:nvPr/>
        </p:nvSpPr>
        <p:spPr>
          <a:xfrm>
            <a:off x="2179289" y="2330962"/>
            <a:ext cx="2731626" cy="86073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624E33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is-IS" sz="2400" dirty="0"/>
              <a:t>373</a:t>
            </a:r>
            <a:r>
              <a:rPr lang="ru-RU" sz="1800" b="0" dirty="0">
                <a:solidFill>
                  <a:srgbClr val="3C3837"/>
                </a:solidFill>
                <a:latin typeface="Calibri" panose="020F0502020204030204"/>
              </a:rPr>
              <a:t/>
            </a:r>
            <a:br>
              <a:rPr lang="ru-RU" sz="1800" b="0" dirty="0">
                <a:solidFill>
                  <a:srgbClr val="3C3837"/>
                </a:solidFill>
                <a:latin typeface="Calibri" panose="020F0502020204030204"/>
              </a:rPr>
            </a:b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обучающих </a:t>
            </a:r>
            <a:r>
              <a:rPr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 panose="020F0502020204030204"/>
              </a:rPr>
              <a:t/>
            </a:r>
            <a:br>
              <a:rPr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 panose="020F0502020204030204"/>
              </a:rPr>
            </a:b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мероприятия</a:t>
            </a:r>
            <a:r>
              <a:rPr lang="ru-RU" sz="1800" b="0" dirty="0">
                <a:solidFill>
                  <a:srgbClr val="3C3837"/>
                </a:solidFill>
                <a:latin typeface="Calibri" panose="020F0502020204030204"/>
              </a:rPr>
              <a:t> </a:t>
            </a:r>
            <a:endParaRPr lang="ru-RU" dirty="0">
              <a:solidFill>
                <a:srgbClr val="3C3837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3C3837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srgbClr val="3C3837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sp>
        <p:nvSpPr>
          <p:cNvPr id="48" name="Пятиугольник 5">
            <a:extLst>
              <a:ext uri="{FF2B5EF4-FFF2-40B4-BE49-F238E27FC236}">
                <a16:creationId xmlns="" xmlns:a16="http://schemas.microsoft.com/office/drawing/2014/main" id="{50B74BCC-2C9F-46B1-BEDF-E02E76207631}"/>
              </a:ext>
            </a:extLst>
          </p:cNvPr>
          <p:cNvSpPr/>
          <p:nvPr/>
        </p:nvSpPr>
        <p:spPr>
          <a:xfrm>
            <a:off x="7296884" y="4315377"/>
            <a:ext cx="1861142" cy="10895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FFD415"/>
              </a:buClr>
              <a:buSzTx/>
              <a:buFontTx/>
              <a:buNone/>
              <a:tabLst/>
              <a:defRPr/>
            </a:pPr>
            <a:r>
              <a:rPr lang="ru-RU" sz="2400" b="1" dirty="0">
                <a:solidFill>
                  <a:srgbClr val="3C3837"/>
                </a:solidFill>
                <a:latin typeface="Calibri"/>
              </a:rPr>
              <a:t>4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lang="ru-RU" sz="2400" b="1" dirty="0">
                <a:solidFill>
                  <a:srgbClr val="3C3837"/>
                </a:solidFill>
                <a:latin typeface="Calibri"/>
              </a:rPr>
              <a:t>011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/>
            </a:r>
            <a:b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Times New Roman" panose="02020603050405020304" pitchFamily="18" charset="0"/>
              </a:rPr>
              <a:t>человек прошли все 10 уроков онлайн-курса</a:t>
            </a:r>
          </a:p>
        </p:txBody>
      </p:sp>
      <p:sp>
        <p:nvSpPr>
          <p:cNvPr id="49" name="Пятиугольник 5">
            <a:extLst>
              <a:ext uri="{FF2B5EF4-FFF2-40B4-BE49-F238E27FC236}">
                <a16:creationId xmlns="" xmlns:a16="http://schemas.microsoft.com/office/drawing/2014/main" id="{336E6098-12A3-4602-81BE-39B2086F98C2}"/>
              </a:ext>
            </a:extLst>
          </p:cNvPr>
          <p:cNvSpPr/>
          <p:nvPr/>
        </p:nvSpPr>
        <p:spPr>
          <a:xfrm>
            <a:off x="7421140" y="2947373"/>
            <a:ext cx="173688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lnSpc>
                <a:spcPct val="90000"/>
              </a:lnSpc>
              <a:spcBef>
                <a:spcPts val="600"/>
              </a:spcBef>
              <a:buClr>
                <a:srgbClr val="FFD415"/>
              </a:buClr>
              <a:defRPr/>
            </a:pPr>
            <a:r>
              <a:rPr lang="en-US" sz="2400" b="1" dirty="0">
                <a:solidFill>
                  <a:srgbClr val="3C3837"/>
                </a:solidFill>
              </a:rPr>
              <a:t>2</a:t>
            </a:r>
            <a:r>
              <a:rPr lang="ru-RU" sz="2400" b="1" dirty="0">
                <a:solidFill>
                  <a:srgbClr val="3C3837"/>
                </a:solidFill>
              </a:rPr>
              <a:t>1 485</a:t>
            </a:r>
            <a:br>
              <a:rPr lang="ru-RU" sz="2400" b="1" dirty="0">
                <a:solidFill>
                  <a:srgbClr val="3C3837"/>
                </a:solidFill>
              </a:rPr>
            </a:b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Times New Roman" panose="02020603050405020304" pitchFamily="18" charset="0"/>
              </a:rPr>
              <a:t>регистраций</a:t>
            </a:r>
          </a:p>
        </p:txBody>
      </p:sp>
      <p:sp>
        <p:nvSpPr>
          <p:cNvPr id="51" name="Полилиния: фигура 50">
            <a:extLst>
              <a:ext uri="{FF2B5EF4-FFF2-40B4-BE49-F238E27FC236}">
                <a16:creationId xmlns="" xmlns:a16="http://schemas.microsoft.com/office/drawing/2014/main" id="{E2668D7A-C45C-4456-A2CA-A8011577BFDD}"/>
              </a:ext>
            </a:extLst>
          </p:cNvPr>
          <p:cNvSpPr/>
          <p:nvPr/>
        </p:nvSpPr>
        <p:spPr>
          <a:xfrm>
            <a:off x="8353693" y="1249825"/>
            <a:ext cx="382727" cy="457096"/>
          </a:xfrm>
          <a:custGeom>
            <a:avLst/>
            <a:gdLst>
              <a:gd name="connsiteX0" fmla="*/ 517080 w 650784"/>
              <a:gd name="connsiteY0" fmla="*/ 34081 h 777240"/>
              <a:gd name="connsiteX1" fmla="*/ 590178 w 650784"/>
              <a:gd name="connsiteY1" fmla="*/ 16501 h 777240"/>
              <a:gd name="connsiteX2" fmla="*/ 649396 w 650784"/>
              <a:gd name="connsiteY2" fmla="*/ 2313 h 777240"/>
              <a:gd name="connsiteX3" fmla="*/ 569822 w 650784"/>
              <a:gd name="connsiteY3" fmla="*/ 92066 h 777240"/>
              <a:gd name="connsiteX4" fmla="*/ 432880 w 650784"/>
              <a:gd name="connsiteY4" fmla="*/ 601590 h 777240"/>
              <a:gd name="connsiteX5" fmla="*/ 353305 w 650784"/>
              <a:gd name="connsiteY5" fmla="*/ 691651 h 777240"/>
              <a:gd name="connsiteX6" fmla="*/ 123834 w 650784"/>
              <a:gd name="connsiteY6" fmla="*/ 746860 h 777240"/>
              <a:gd name="connsiteX7" fmla="*/ 61223 w 650784"/>
              <a:gd name="connsiteY7" fmla="*/ 761973 h 777240"/>
              <a:gd name="connsiteX8" fmla="*/ 2313 w 650784"/>
              <a:gd name="connsiteY8" fmla="*/ 776161 h 777240"/>
              <a:gd name="connsiteX9" fmla="*/ 81888 w 650784"/>
              <a:gd name="connsiteY9" fmla="*/ 686408 h 777240"/>
              <a:gd name="connsiteX10" fmla="*/ 218830 w 650784"/>
              <a:gd name="connsiteY10" fmla="*/ 176884 h 777240"/>
              <a:gd name="connsiteX11" fmla="*/ 298405 w 650784"/>
              <a:gd name="connsiteY11" fmla="*/ 86823 h 777240"/>
              <a:gd name="connsiteX12" fmla="*/ 517080 w 650784"/>
              <a:gd name="connsiteY12" fmla="*/ 34081 h 777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50784" h="777240">
                <a:moveTo>
                  <a:pt x="517080" y="34081"/>
                </a:moveTo>
                <a:lnTo>
                  <a:pt x="590178" y="16501"/>
                </a:lnTo>
                <a:lnTo>
                  <a:pt x="649396" y="2313"/>
                </a:lnTo>
                <a:cubicBezTo>
                  <a:pt x="613927" y="10949"/>
                  <a:pt x="582159" y="46727"/>
                  <a:pt x="569822" y="92066"/>
                </a:cubicBezTo>
                <a:lnTo>
                  <a:pt x="432880" y="601590"/>
                </a:lnTo>
                <a:cubicBezTo>
                  <a:pt x="420542" y="647238"/>
                  <a:pt x="388774" y="683015"/>
                  <a:pt x="353305" y="691651"/>
                </a:cubicBezTo>
                <a:lnTo>
                  <a:pt x="123834" y="746860"/>
                </a:lnTo>
                <a:lnTo>
                  <a:pt x="61223" y="761973"/>
                </a:lnTo>
                <a:lnTo>
                  <a:pt x="2313" y="776161"/>
                </a:lnTo>
                <a:cubicBezTo>
                  <a:pt x="37783" y="767525"/>
                  <a:pt x="69551" y="731747"/>
                  <a:pt x="81888" y="686408"/>
                </a:cubicBezTo>
                <a:lnTo>
                  <a:pt x="218830" y="176884"/>
                </a:lnTo>
                <a:cubicBezTo>
                  <a:pt x="231167" y="131236"/>
                  <a:pt x="262935" y="95459"/>
                  <a:pt x="298405" y="86823"/>
                </a:cubicBezTo>
                <a:lnTo>
                  <a:pt x="517080" y="34081"/>
                </a:lnTo>
                <a:close/>
              </a:path>
            </a:pathLst>
          </a:custGeom>
          <a:gradFill>
            <a:gsLst>
              <a:gs pos="0">
                <a:srgbClr val="FFE682"/>
              </a:gs>
              <a:gs pos="100000">
                <a:srgbClr val="FFC61B"/>
              </a:gs>
            </a:gsLst>
            <a:lin ang="16800000" scaled="0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2" name="Прямоугольник 51">
            <a:extLst>
              <a:ext uri="{FF2B5EF4-FFF2-40B4-BE49-F238E27FC236}">
                <a16:creationId xmlns="" xmlns:a16="http://schemas.microsoft.com/office/drawing/2014/main" id="{FBCB3AB6-7EB6-4A32-8E57-73D0EAFF631D}"/>
              </a:ext>
            </a:extLst>
          </p:cNvPr>
          <p:cNvSpPr/>
          <p:nvPr/>
        </p:nvSpPr>
        <p:spPr>
          <a:xfrm>
            <a:off x="7001288" y="1310330"/>
            <a:ext cx="4691077" cy="9787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Онлайн-курс</a:t>
            </a:r>
            <a:br>
              <a:rPr kumimoji="0" lang="ru-RU" sz="2400" b="1" i="0" u="none" strike="noStrike" kern="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ru-RU" sz="2000" b="0" i="0" u="none" strike="noStrike" kern="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о социальному </a:t>
            </a:r>
            <a:br>
              <a:rPr kumimoji="0" lang="ru-RU" sz="2000" b="0" i="0" u="none" strike="noStrike" kern="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ru-RU" sz="2000" b="0" i="0" u="none" strike="noStrike" kern="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роектированию</a:t>
            </a:r>
            <a:endParaRPr kumimoji="0" lang="ru-RU" sz="1400" b="0" i="0" u="none" strike="noStrike" kern="1200" cap="none" spc="0" normalizeH="0" baseline="0" noProof="0">
              <a:ln>
                <a:noFill/>
              </a:ln>
              <a:solidFill>
                <a:srgbClr val="3C3837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" name="Полилиния: фигура 39">
            <a:extLst>
              <a:ext uri="{FF2B5EF4-FFF2-40B4-BE49-F238E27FC236}">
                <a16:creationId xmlns="" xmlns:a16="http://schemas.microsoft.com/office/drawing/2014/main" id="{34263A2B-FF94-482C-BF0B-B681923564FA}"/>
              </a:ext>
            </a:extLst>
          </p:cNvPr>
          <p:cNvSpPr/>
          <p:nvPr/>
        </p:nvSpPr>
        <p:spPr>
          <a:xfrm>
            <a:off x="1500939" y="1249825"/>
            <a:ext cx="382727" cy="457096"/>
          </a:xfrm>
          <a:custGeom>
            <a:avLst/>
            <a:gdLst>
              <a:gd name="connsiteX0" fmla="*/ 517080 w 650784"/>
              <a:gd name="connsiteY0" fmla="*/ 34081 h 777240"/>
              <a:gd name="connsiteX1" fmla="*/ 590178 w 650784"/>
              <a:gd name="connsiteY1" fmla="*/ 16501 h 777240"/>
              <a:gd name="connsiteX2" fmla="*/ 649396 w 650784"/>
              <a:gd name="connsiteY2" fmla="*/ 2313 h 777240"/>
              <a:gd name="connsiteX3" fmla="*/ 569822 w 650784"/>
              <a:gd name="connsiteY3" fmla="*/ 92066 h 777240"/>
              <a:gd name="connsiteX4" fmla="*/ 432880 w 650784"/>
              <a:gd name="connsiteY4" fmla="*/ 601590 h 777240"/>
              <a:gd name="connsiteX5" fmla="*/ 353305 w 650784"/>
              <a:gd name="connsiteY5" fmla="*/ 691651 h 777240"/>
              <a:gd name="connsiteX6" fmla="*/ 123834 w 650784"/>
              <a:gd name="connsiteY6" fmla="*/ 746860 h 777240"/>
              <a:gd name="connsiteX7" fmla="*/ 61223 w 650784"/>
              <a:gd name="connsiteY7" fmla="*/ 761973 h 777240"/>
              <a:gd name="connsiteX8" fmla="*/ 2313 w 650784"/>
              <a:gd name="connsiteY8" fmla="*/ 776161 h 777240"/>
              <a:gd name="connsiteX9" fmla="*/ 81888 w 650784"/>
              <a:gd name="connsiteY9" fmla="*/ 686408 h 777240"/>
              <a:gd name="connsiteX10" fmla="*/ 218830 w 650784"/>
              <a:gd name="connsiteY10" fmla="*/ 176884 h 777240"/>
              <a:gd name="connsiteX11" fmla="*/ 298405 w 650784"/>
              <a:gd name="connsiteY11" fmla="*/ 86823 h 777240"/>
              <a:gd name="connsiteX12" fmla="*/ 517080 w 650784"/>
              <a:gd name="connsiteY12" fmla="*/ 34081 h 777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50784" h="777240">
                <a:moveTo>
                  <a:pt x="517080" y="34081"/>
                </a:moveTo>
                <a:lnTo>
                  <a:pt x="590178" y="16501"/>
                </a:lnTo>
                <a:lnTo>
                  <a:pt x="649396" y="2313"/>
                </a:lnTo>
                <a:cubicBezTo>
                  <a:pt x="613927" y="10949"/>
                  <a:pt x="582159" y="46727"/>
                  <a:pt x="569822" y="92066"/>
                </a:cubicBezTo>
                <a:lnTo>
                  <a:pt x="432880" y="601590"/>
                </a:lnTo>
                <a:cubicBezTo>
                  <a:pt x="420542" y="647238"/>
                  <a:pt x="388774" y="683015"/>
                  <a:pt x="353305" y="691651"/>
                </a:cubicBezTo>
                <a:lnTo>
                  <a:pt x="123834" y="746860"/>
                </a:lnTo>
                <a:lnTo>
                  <a:pt x="61223" y="761973"/>
                </a:lnTo>
                <a:lnTo>
                  <a:pt x="2313" y="776161"/>
                </a:lnTo>
                <a:cubicBezTo>
                  <a:pt x="37783" y="767525"/>
                  <a:pt x="69551" y="731747"/>
                  <a:pt x="81888" y="686408"/>
                </a:cubicBezTo>
                <a:lnTo>
                  <a:pt x="218830" y="176884"/>
                </a:lnTo>
                <a:cubicBezTo>
                  <a:pt x="231167" y="131236"/>
                  <a:pt x="262935" y="95459"/>
                  <a:pt x="298405" y="86823"/>
                </a:cubicBezTo>
                <a:lnTo>
                  <a:pt x="517080" y="34081"/>
                </a:lnTo>
                <a:close/>
              </a:path>
            </a:pathLst>
          </a:custGeom>
          <a:gradFill>
            <a:gsLst>
              <a:gs pos="0">
                <a:srgbClr val="FFE682"/>
              </a:gs>
              <a:gs pos="100000">
                <a:srgbClr val="FFC61B"/>
              </a:gs>
            </a:gsLst>
            <a:lin ang="16800000" scaled="0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Заголовок 6">
            <a:extLst>
              <a:ext uri="{FF2B5EF4-FFF2-40B4-BE49-F238E27FC236}">
                <a16:creationId xmlns="" xmlns:a16="http://schemas.microsoft.com/office/drawing/2014/main" id="{CA87E8D9-8EA1-584E-80DB-A9BB8FBC3670}"/>
              </a:ext>
            </a:extLst>
          </p:cNvPr>
          <p:cNvSpPr txBox="1">
            <a:spLocks/>
          </p:cNvSpPr>
          <p:nvPr/>
        </p:nvSpPr>
        <p:spPr>
          <a:xfrm>
            <a:off x="618820" y="1248373"/>
            <a:ext cx="3528338" cy="81502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624E33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Проведено</a:t>
            </a: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/>
            </a:r>
            <a:b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</a:b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в 2017-2020 годах</a:t>
            </a: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srgbClr val="3C3837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sp>
        <p:nvSpPr>
          <p:cNvPr id="42" name="Заголовок 6">
            <a:extLst>
              <a:ext uri="{FF2B5EF4-FFF2-40B4-BE49-F238E27FC236}">
                <a16:creationId xmlns="" xmlns:a16="http://schemas.microsoft.com/office/drawing/2014/main" id="{27576E9F-10ED-4EBD-A89C-28AA5EA1F241}"/>
              </a:ext>
            </a:extLst>
          </p:cNvPr>
          <p:cNvSpPr txBox="1">
            <a:spLocks/>
          </p:cNvSpPr>
          <p:nvPr/>
        </p:nvSpPr>
        <p:spPr>
          <a:xfrm>
            <a:off x="2175362" y="4897295"/>
            <a:ext cx="1213099" cy="96608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624E33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85</a:t>
            </a:r>
            <a:r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 </a:t>
            </a:r>
            <a:br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</a:br>
            <a:r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регионов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 </a:t>
            </a:r>
            <a:r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охвачено</a:t>
            </a:r>
          </a:p>
        </p:txBody>
      </p:sp>
      <p:sp>
        <p:nvSpPr>
          <p:cNvPr id="62" name="Заголовок 6">
            <a:extLst>
              <a:ext uri="{FF2B5EF4-FFF2-40B4-BE49-F238E27FC236}">
                <a16:creationId xmlns="" xmlns:a16="http://schemas.microsoft.com/office/drawing/2014/main" id="{1D8D5C1B-26C2-4B77-8EB5-479298B57D2A}"/>
              </a:ext>
            </a:extLst>
          </p:cNvPr>
          <p:cNvSpPr txBox="1">
            <a:spLocks/>
          </p:cNvSpPr>
          <p:nvPr/>
        </p:nvSpPr>
        <p:spPr>
          <a:xfrm>
            <a:off x="2175362" y="3755580"/>
            <a:ext cx="1663381" cy="80214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624E33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cs-CZ" sz="2400" dirty="0"/>
              <a:t>64</a:t>
            </a:r>
            <a:r>
              <a:rPr lang="ru-RU" sz="2400" dirty="0"/>
              <a:t> 990</a:t>
            </a:r>
            <a:r>
              <a:rPr lang="ru-RU" sz="2400" dirty="0">
                <a:solidFill>
                  <a:srgbClr val="3C3837"/>
                </a:solidFill>
                <a:latin typeface="Calibri" panose="020F0502020204030204"/>
              </a:rPr>
              <a:t> </a:t>
            </a:r>
            <a:r>
              <a:rPr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</a:rPr>
              <a:t/>
            </a:r>
            <a:br>
              <a:rPr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</a:rPr>
            </a:b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участников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658AEFF3-1929-4D24-BCC1-97CC96715C6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36038" y="2428462"/>
            <a:ext cx="813180" cy="762501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="" xmlns:a16="http://schemas.microsoft.com/office/drawing/2014/main" id="{1F4EBD2D-F2DD-454E-B949-8E9A521D86F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40338" y="4997938"/>
            <a:ext cx="827339" cy="764795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="" xmlns:a16="http://schemas.microsoft.com/office/drawing/2014/main" id="{649ECD1A-01C7-4D52-887E-984158E24D3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207709" y="3771289"/>
            <a:ext cx="813181" cy="564975"/>
          </a:xfrm>
          <a:prstGeom prst="rect">
            <a:avLst/>
          </a:prstGeom>
        </p:spPr>
      </p:pic>
      <p:grpSp>
        <p:nvGrpSpPr>
          <p:cNvPr id="13" name="Группа 12">
            <a:extLst>
              <a:ext uri="{FF2B5EF4-FFF2-40B4-BE49-F238E27FC236}">
                <a16:creationId xmlns="" xmlns:a16="http://schemas.microsoft.com/office/drawing/2014/main" id="{FFAAC2D2-AA68-46B2-8464-DED400CE8FAA}"/>
              </a:ext>
            </a:extLst>
          </p:cNvPr>
          <p:cNvGrpSpPr/>
          <p:nvPr/>
        </p:nvGrpSpPr>
        <p:grpSpPr>
          <a:xfrm>
            <a:off x="9266671" y="2677885"/>
            <a:ext cx="1481885" cy="2618161"/>
            <a:chOff x="9201355" y="2152190"/>
            <a:chExt cx="1481885" cy="2411550"/>
          </a:xfrm>
        </p:grpSpPr>
        <p:sp>
          <p:nvSpPr>
            <p:cNvPr id="6" name="Прямоугольник 5">
              <a:extLst>
                <a:ext uri="{FF2B5EF4-FFF2-40B4-BE49-F238E27FC236}">
                  <a16:creationId xmlns="" xmlns:a16="http://schemas.microsoft.com/office/drawing/2014/main" id="{35A3A7D3-605E-4814-8501-FD9A663E45A4}"/>
                </a:ext>
              </a:extLst>
            </p:cNvPr>
            <p:cNvSpPr/>
            <p:nvPr/>
          </p:nvSpPr>
          <p:spPr>
            <a:xfrm>
              <a:off x="9201356" y="2368865"/>
              <a:ext cx="1481884" cy="623218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6" name="Прямоугольник 35">
              <a:extLst>
                <a:ext uri="{FF2B5EF4-FFF2-40B4-BE49-F238E27FC236}">
                  <a16:creationId xmlns="" xmlns:a16="http://schemas.microsoft.com/office/drawing/2014/main" id="{5FA95A91-FF82-45A8-A47F-025E383653A2}"/>
                </a:ext>
              </a:extLst>
            </p:cNvPr>
            <p:cNvSpPr/>
            <p:nvPr/>
          </p:nvSpPr>
          <p:spPr>
            <a:xfrm>
              <a:off x="9201356" y="3705743"/>
              <a:ext cx="229605" cy="623218"/>
            </a:xfrm>
            <a:prstGeom prst="rect">
              <a:avLst/>
            </a:prstGeom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67" name="Прямая соединительная линия 66">
              <a:extLst>
                <a:ext uri="{FF2B5EF4-FFF2-40B4-BE49-F238E27FC236}">
                  <a16:creationId xmlns="" xmlns:a16="http://schemas.microsoft.com/office/drawing/2014/main" id="{0676F3DA-0ED9-4E29-9F54-C694A5F4D0F9}"/>
                </a:ext>
              </a:extLst>
            </p:cNvPr>
            <p:cNvCxnSpPr>
              <a:cxnSpLocks/>
            </p:cNvCxnSpPr>
            <p:nvPr/>
          </p:nvCxnSpPr>
          <p:spPr>
            <a:xfrm>
              <a:off x="9201355" y="2152190"/>
              <a:ext cx="0" cy="2411550"/>
            </a:xfrm>
            <a:prstGeom prst="line">
              <a:avLst/>
            </a:prstGeom>
            <a:noFill/>
            <a:ln w="12700" cap="rnd">
              <a:solidFill>
                <a:schemeClr val="bg1">
                  <a:lumMod val="50000"/>
                </a:schemeClr>
              </a:solidFill>
              <a:prstDash val="sysDot"/>
              <a:round/>
              <a:headEnd type="none"/>
              <a:tailEnd type="none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  <p:sp>
        <p:nvSpPr>
          <p:cNvPr id="34" name="Прямоугольник 33">
            <a:extLst>
              <a:ext uri="{FF2B5EF4-FFF2-40B4-BE49-F238E27FC236}">
                <a16:creationId xmlns="" xmlns:a16="http://schemas.microsoft.com/office/drawing/2014/main" id="{3BB7B188-764B-48FA-803A-4FE91B81975B}"/>
              </a:ext>
            </a:extLst>
          </p:cNvPr>
          <p:cNvSpPr/>
          <p:nvPr/>
        </p:nvSpPr>
        <p:spPr>
          <a:xfrm rot="5400000">
            <a:off x="2958985" y="2265430"/>
            <a:ext cx="5185457" cy="2895600"/>
          </a:xfrm>
          <a:prstGeom prst="rect">
            <a:avLst/>
          </a:prstGeom>
          <a:solidFill>
            <a:srgbClr val="FFFFFF"/>
          </a:solidFill>
          <a:ln w="6350" cap="flat">
            <a:solidFill>
              <a:srgbClr val="4C3B21">
                <a:alpha val="17000"/>
              </a:srgbClr>
            </a:solidFill>
            <a:prstDash val="solid"/>
            <a:miter lim="800000"/>
          </a:ln>
          <a:effectLst>
            <a:outerShdw blurRad="304800" rotWithShape="0">
              <a:srgbClr val="6B522E">
                <a:alpha val="28000"/>
              </a:srgbClr>
            </a:outerShdw>
          </a:effectLst>
        </p:spPr>
        <p:txBody>
          <a:bodyPr rot="0" spcFirstLastPara="0" vertOverflow="overflow" horzOverflow="overflow" vert="horz" wrap="square" lIns="45719" tIns="45719" rIns="4571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35" name="Полилиния: фигура 34">
            <a:extLst>
              <a:ext uri="{FF2B5EF4-FFF2-40B4-BE49-F238E27FC236}">
                <a16:creationId xmlns="" xmlns:a16="http://schemas.microsoft.com/office/drawing/2014/main" id="{3BF4B0E9-064B-47BA-A950-FE8583CADFE6}"/>
              </a:ext>
            </a:extLst>
          </p:cNvPr>
          <p:cNvSpPr/>
          <p:nvPr/>
        </p:nvSpPr>
        <p:spPr>
          <a:xfrm>
            <a:off x="4954762" y="1249825"/>
            <a:ext cx="382727" cy="457096"/>
          </a:xfrm>
          <a:custGeom>
            <a:avLst/>
            <a:gdLst>
              <a:gd name="connsiteX0" fmla="*/ 517080 w 650784"/>
              <a:gd name="connsiteY0" fmla="*/ 34081 h 777240"/>
              <a:gd name="connsiteX1" fmla="*/ 590178 w 650784"/>
              <a:gd name="connsiteY1" fmla="*/ 16501 h 777240"/>
              <a:gd name="connsiteX2" fmla="*/ 649396 w 650784"/>
              <a:gd name="connsiteY2" fmla="*/ 2313 h 777240"/>
              <a:gd name="connsiteX3" fmla="*/ 569822 w 650784"/>
              <a:gd name="connsiteY3" fmla="*/ 92066 h 777240"/>
              <a:gd name="connsiteX4" fmla="*/ 432880 w 650784"/>
              <a:gd name="connsiteY4" fmla="*/ 601590 h 777240"/>
              <a:gd name="connsiteX5" fmla="*/ 353305 w 650784"/>
              <a:gd name="connsiteY5" fmla="*/ 691651 h 777240"/>
              <a:gd name="connsiteX6" fmla="*/ 123834 w 650784"/>
              <a:gd name="connsiteY6" fmla="*/ 746860 h 777240"/>
              <a:gd name="connsiteX7" fmla="*/ 61223 w 650784"/>
              <a:gd name="connsiteY7" fmla="*/ 761973 h 777240"/>
              <a:gd name="connsiteX8" fmla="*/ 2313 w 650784"/>
              <a:gd name="connsiteY8" fmla="*/ 776161 h 777240"/>
              <a:gd name="connsiteX9" fmla="*/ 81888 w 650784"/>
              <a:gd name="connsiteY9" fmla="*/ 686408 h 777240"/>
              <a:gd name="connsiteX10" fmla="*/ 218830 w 650784"/>
              <a:gd name="connsiteY10" fmla="*/ 176884 h 777240"/>
              <a:gd name="connsiteX11" fmla="*/ 298405 w 650784"/>
              <a:gd name="connsiteY11" fmla="*/ 86823 h 777240"/>
              <a:gd name="connsiteX12" fmla="*/ 517080 w 650784"/>
              <a:gd name="connsiteY12" fmla="*/ 34081 h 777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50784" h="777240">
                <a:moveTo>
                  <a:pt x="517080" y="34081"/>
                </a:moveTo>
                <a:lnTo>
                  <a:pt x="590178" y="16501"/>
                </a:lnTo>
                <a:lnTo>
                  <a:pt x="649396" y="2313"/>
                </a:lnTo>
                <a:cubicBezTo>
                  <a:pt x="613927" y="10949"/>
                  <a:pt x="582159" y="46727"/>
                  <a:pt x="569822" y="92066"/>
                </a:cubicBezTo>
                <a:lnTo>
                  <a:pt x="432880" y="601590"/>
                </a:lnTo>
                <a:cubicBezTo>
                  <a:pt x="420542" y="647238"/>
                  <a:pt x="388774" y="683015"/>
                  <a:pt x="353305" y="691651"/>
                </a:cubicBezTo>
                <a:lnTo>
                  <a:pt x="123834" y="746860"/>
                </a:lnTo>
                <a:lnTo>
                  <a:pt x="61223" y="761973"/>
                </a:lnTo>
                <a:lnTo>
                  <a:pt x="2313" y="776161"/>
                </a:lnTo>
                <a:cubicBezTo>
                  <a:pt x="37783" y="767525"/>
                  <a:pt x="69551" y="731747"/>
                  <a:pt x="81888" y="686408"/>
                </a:cubicBezTo>
                <a:lnTo>
                  <a:pt x="218830" y="176884"/>
                </a:lnTo>
                <a:cubicBezTo>
                  <a:pt x="231167" y="131236"/>
                  <a:pt x="262935" y="95459"/>
                  <a:pt x="298405" y="86823"/>
                </a:cubicBezTo>
                <a:lnTo>
                  <a:pt x="517080" y="34081"/>
                </a:lnTo>
                <a:close/>
              </a:path>
            </a:pathLst>
          </a:custGeom>
          <a:gradFill>
            <a:gsLst>
              <a:gs pos="0">
                <a:srgbClr val="FFE682"/>
              </a:gs>
              <a:gs pos="100000">
                <a:srgbClr val="FFC61B"/>
              </a:gs>
            </a:gsLst>
            <a:lin ang="16800000" scaled="0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" name="Заголовок 6">
            <a:extLst>
              <a:ext uri="{FF2B5EF4-FFF2-40B4-BE49-F238E27FC236}">
                <a16:creationId xmlns="" xmlns:a16="http://schemas.microsoft.com/office/drawing/2014/main" id="{DAF6DD20-EB5E-4B2B-AE9C-3B159143B3FE}"/>
              </a:ext>
            </a:extLst>
          </p:cNvPr>
          <p:cNvSpPr txBox="1">
            <a:spLocks/>
          </p:cNvSpPr>
          <p:nvPr/>
        </p:nvSpPr>
        <p:spPr>
          <a:xfrm>
            <a:off x="3803136" y="1307025"/>
            <a:ext cx="3528338" cy="81502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624E33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 algn="ctr">
              <a:defRPr/>
            </a:pPr>
            <a:r>
              <a:rPr lang="ru-RU" sz="2400">
                <a:solidFill>
                  <a:srgbClr val="3C3837"/>
                </a:solidFill>
              </a:rPr>
              <a:t>Сервис </a:t>
            </a:r>
            <a:r>
              <a:rPr kumimoji="0" lang="ru-RU" sz="2800" b="1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/>
            </a:r>
            <a:br>
              <a:rPr kumimoji="0" lang="ru-RU" sz="2800" b="1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</a:br>
            <a:r>
              <a:rPr lang="ru-RU" sz="2000" b="0">
                <a:solidFill>
                  <a:srgbClr val="3C3837"/>
                </a:solidFill>
              </a:rPr>
              <a:t>самопроверки </a:t>
            </a:r>
            <a:br>
              <a:rPr lang="ru-RU" sz="2000" b="0">
                <a:solidFill>
                  <a:srgbClr val="3C3837"/>
                </a:solidFill>
              </a:rPr>
            </a:br>
            <a:r>
              <a:rPr lang="ru-RU" sz="2000" b="0">
                <a:solidFill>
                  <a:srgbClr val="3C3837"/>
                </a:solidFill>
              </a:rPr>
              <a:t>заявки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7D4B31D8-204C-48B0-98A0-65DD8D4317DD}"/>
              </a:ext>
            </a:extLst>
          </p:cNvPr>
          <p:cNvSpPr/>
          <p:nvPr/>
        </p:nvSpPr>
        <p:spPr>
          <a:xfrm>
            <a:off x="4427930" y="2981963"/>
            <a:ext cx="2322328" cy="3200876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US" sz="2400" b="1" dirty="0">
                <a:solidFill>
                  <a:srgbClr val="3C3837"/>
                </a:solidFill>
                <a:latin typeface="Calibri" panose="020F0502020204030204"/>
                <a:ea typeface="+mj-ea"/>
                <a:cs typeface="+mj-cs"/>
              </a:rPr>
              <a:t>7</a:t>
            </a:r>
            <a:r>
              <a:rPr lang="ru-RU" sz="2400" b="1" dirty="0">
                <a:solidFill>
                  <a:srgbClr val="3C3837"/>
                </a:solidFill>
                <a:latin typeface="Calibri" panose="020F0502020204030204"/>
                <a:ea typeface="+mj-ea"/>
                <a:cs typeface="+mj-cs"/>
              </a:rPr>
              <a:t>40</a:t>
            </a:r>
            <a:r>
              <a:rPr lang="ru-RU" dirty="0">
                <a:solidFill>
                  <a:srgbClr val="3C3837"/>
                </a:solidFill>
              </a:rPr>
              <a:t> </a:t>
            </a:r>
            <a:br>
              <a:rPr lang="ru-RU" dirty="0">
                <a:solidFill>
                  <a:srgbClr val="3C3837"/>
                </a:solidFill>
              </a:rPr>
            </a:br>
            <a:r>
              <a:rPr lang="ru-RU" dirty="0">
                <a:solidFill>
                  <a:srgbClr val="3C3837"/>
                </a:solidFill>
                <a:latin typeface="Calibri"/>
                <a:ea typeface="+mj-ea"/>
                <a:cs typeface="+mj-cs"/>
              </a:rPr>
              <a:t>человек воспользовались сервисом</a:t>
            </a:r>
          </a:p>
          <a:p>
            <a:pPr algn="ctr"/>
            <a:endParaRPr lang="ru-RU" dirty="0">
              <a:solidFill>
                <a:srgbClr val="3C3837"/>
              </a:solidFill>
              <a:latin typeface="Calibri"/>
              <a:ea typeface="+mj-ea"/>
              <a:cs typeface="+mj-cs"/>
            </a:endParaRPr>
          </a:p>
          <a:p>
            <a:pPr algn="ctr"/>
            <a:endParaRPr lang="ru-RU" sz="1000" dirty="0">
              <a:solidFill>
                <a:srgbClr val="3C3837"/>
              </a:solidFill>
              <a:latin typeface="Calibri"/>
              <a:ea typeface="+mj-ea"/>
              <a:cs typeface="+mj-cs"/>
            </a:endParaRPr>
          </a:p>
          <a:p>
            <a:pPr algn="ctr"/>
            <a:endParaRPr lang="ru-RU" dirty="0">
              <a:solidFill>
                <a:srgbClr val="3C3837"/>
              </a:solidFill>
              <a:latin typeface="Calibri"/>
              <a:ea typeface="+mj-ea"/>
              <a:cs typeface="+mj-cs"/>
            </a:endParaRPr>
          </a:p>
          <a:p>
            <a:pPr algn="ctr"/>
            <a:r>
              <a:rPr lang="ru-RU" sz="2400" b="1" dirty="0">
                <a:solidFill>
                  <a:srgbClr val="3C3837"/>
                </a:solidFill>
                <a:latin typeface="Calibri" panose="020F0502020204030204"/>
                <a:ea typeface="+mj-ea"/>
                <a:cs typeface="+mj-cs"/>
              </a:rPr>
              <a:t>520</a:t>
            </a:r>
            <a:r>
              <a:rPr lang="ru-RU" dirty="0">
                <a:solidFill>
                  <a:srgbClr val="3C3837"/>
                </a:solidFill>
              </a:rPr>
              <a:t> </a:t>
            </a:r>
            <a:br>
              <a:rPr lang="ru-RU" dirty="0">
                <a:solidFill>
                  <a:srgbClr val="3C3837"/>
                </a:solidFill>
              </a:rPr>
            </a:br>
            <a:r>
              <a:rPr lang="ru-RU" dirty="0">
                <a:solidFill>
                  <a:srgbClr val="3C3837"/>
                </a:solidFill>
                <a:latin typeface="Calibri"/>
                <a:ea typeface="+mj-ea"/>
                <a:cs typeface="+mj-cs"/>
              </a:rPr>
              <a:t>проверил </a:t>
            </a:r>
            <a:br>
              <a:rPr lang="ru-RU" dirty="0">
                <a:solidFill>
                  <a:srgbClr val="3C3837"/>
                </a:solidFill>
                <a:latin typeface="Calibri"/>
                <a:ea typeface="+mj-ea"/>
                <a:cs typeface="+mj-cs"/>
              </a:rPr>
            </a:br>
            <a:r>
              <a:rPr lang="ru-RU" dirty="0">
                <a:solidFill>
                  <a:srgbClr val="3C3837"/>
                </a:solidFill>
                <a:latin typeface="Calibri"/>
                <a:ea typeface="+mj-ea"/>
                <a:cs typeface="+mj-cs"/>
              </a:rPr>
              <a:t>хотя бы одну заявку полностью</a:t>
            </a:r>
          </a:p>
        </p:txBody>
      </p:sp>
      <p:pic>
        <p:nvPicPr>
          <p:cNvPr id="39" name="Рисунок 38">
            <a:extLst>
              <a:ext uri="{FF2B5EF4-FFF2-40B4-BE49-F238E27FC236}">
                <a16:creationId xmlns="" xmlns:a16="http://schemas.microsoft.com/office/drawing/2014/main" id="{BCD7DF7F-F36D-4F69-ACC5-9D5308529B4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181298" y="2452628"/>
            <a:ext cx="813181" cy="564975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="" xmlns:a16="http://schemas.microsoft.com/office/drawing/2014/main" id="{33B42DC1-5A4B-47B3-B393-791A4F6504C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381528" y="4367056"/>
            <a:ext cx="432751" cy="530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6355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Прямоугольник: скругленные углы 29">
            <a:extLst>
              <a:ext uri="{FF2B5EF4-FFF2-40B4-BE49-F238E27FC236}">
                <a16:creationId xmlns="" xmlns:a16="http://schemas.microsoft.com/office/drawing/2014/main" id="{6D8D1E8E-80FF-41EF-8496-AE7072D681C6}"/>
              </a:ext>
            </a:extLst>
          </p:cNvPr>
          <p:cNvSpPr/>
          <p:nvPr/>
        </p:nvSpPr>
        <p:spPr>
          <a:xfrm rot="5400000">
            <a:off x="7382357" y="440589"/>
            <a:ext cx="1911380" cy="6299164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6350" cap="flat">
            <a:solidFill>
              <a:srgbClr val="4C3B21">
                <a:alpha val="17000"/>
              </a:srgbClr>
            </a:solidFill>
            <a:prstDash val="solid"/>
            <a:miter lim="800000"/>
          </a:ln>
          <a:effectLst>
            <a:outerShdw blurRad="304800" rotWithShape="0">
              <a:srgbClr val="6B522E">
                <a:alpha val="28000"/>
              </a:srgbClr>
            </a:outerShdw>
          </a:effectLst>
        </p:spPr>
        <p:txBody>
          <a:bodyPr rot="0" spcFirstLastPara="0" vertOverflow="overflow" horzOverflow="overflow" vert="horz" wrap="square" lIns="45719" tIns="45719" rIns="4571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31" name="Заголовок 6">
            <a:extLst>
              <a:ext uri="{FF2B5EF4-FFF2-40B4-BE49-F238E27FC236}">
                <a16:creationId xmlns="" xmlns:a16="http://schemas.microsoft.com/office/drawing/2014/main" id="{DCB74502-13CD-4723-83D7-93BEE5EADF42}"/>
              </a:ext>
            </a:extLst>
          </p:cNvPr>
          <p:cNvSpPr txBox="1">
            <a:spLocks/>
          </p:cNvSpPr>
          <p:nvPr/>
        </p:nvSpPr>
        <p:spPr>
          <a:xfrm>
            <a:off x="6884898" y="3972864"/>
            <a:ext cx="2917157" cy="48454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624E33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ru-RU" sz="2400" dirty="0">
                <a:solidFill>
                  <a:srgbClr val="3C3837"/>
                </a:solidFill>
              </a:rPr>
              <a:t>1 373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участника</a:t>
            </a:r>
          </a:p>
        </p:txBody>
      </p:sp>
      <p:cxnSp>
        <p:nvCxnSpPr>
          <p:cNvPr id="33" name="Прямая соединительная линия 32">
            <a:extLst>
              <a:ext uri="{FF2B5EF4-FFF2-40B4-BE49-F238E27FC236}">
                <a16:creationId xmlns="" xmlns:a16="http://schemas.microsoft.com/office/drawing/2014/main" id="{65FFFDCC-5523-4139-A904-2C892BCB63D8}"/>
              </a:ext>
            </a:extLst>
          </p:cNvPr>
          <p:cNvCxnSpPr>
            <a:cxnSpLocks/>
          </p:cNvCxnSpPr>
          <p:nvPr/>
        </p:nvCxnSpPr>
        <p:spPr>
          <a:xfrm flipH="1">
            <a:off x="5531006" y="4203984"/>
            <a:ext cx="1690157" cy="0"/>
          </a:xfrm>
          <a:prstGeom prst="line">
            <a:avLst/>
          </a:prstGeom>
          <a:noFill/>
          <a:ln w="28575" cap="rnd">
            <a:solidFill>
              <a:schemeClr val="accent5"/>
            </a:solidFill>
            <a:prstDash val="sysDot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4" name="Прямая соединительная линия 33">
            <a:extLst>
              <a:ext uri="{FF2B5EF4-FFF2-40B4-BE49-F238E27FC236}">
                <a16:creationId xmlns="" xmlns:a16="http://schemas.microsoft.com/office/drawing/2014/main" id="{54B2FEA5-8599-409F-BB5D-CB9A64B03236}"/>
              </a:ext>
            </a:extLst>
          </p:cNvPr>
          <p:cNvCxnSpPr>
            <a:cxnSpLocks/>
          </p:cNvCxnSpPr>
          <p:nvPr/>
        </p:nvCxnSpPr>
        <p:spPr>
          <a:xfrm flipH="1">
            <a:off x="9445083" y="4203984"/>
            <a:ext cx="1690157" cy="0"/>
          </a:xfrm>
          <a:prstGeom prst="line">
            <a:avLst/>
          </a:prstGeom>
          <a:noFill/>
          <a:ln w="28575" cap="rnd">
            <a:solidFill>
              <a:schemeClr val="accent5"/>
            </a:solidFill>
            <a:prstDash val="sysDot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F0FAE835-3D14-8845-B157-8E94FAA376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5143" y="195058"/>
            <a:ext cx="9938657" cy="815027"/>
          </a:xfrm>
        </p:spPr>
        <p:txBody>
          <a:bodyPr/>
          <a:lstStyle/>
          <a:p>
            <a:r>
              <a:rPr lang="ru-RU"/>
              <a:t>Мероприятия для победителей </a:t>
            </a:r>
            <a:br>
              <a:rPr lang="ru-RU"/>
            </a:br>
            <a:r>
              <a:rPr lang="ru-RU"/>
              <a:t>и участников конкурсов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913BB6AB-61CA-5C4A-B623-260B58A23A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9439AD-A166-441A-9978-3BDD957F123B}" type="slidenum">
              <a:rPr lang="ru-RU" smtClean="0"/>
              <a:pPr/>
              <a:t>4</a:t>
            </a:fld>
            <a:endParaRPr lang="ru-RU"/>
          </a:p>
        </p:txBody>
      </p:sp>
      <p:sp>
        <p:nvSpPr>
          <p:cNvPr id="18" name="Прямоугольник: скругленные углы 17">
            <a:extLst>
              <a:ext uri="{FF2B5EF4-FFF2-40B4-BE49-F238E27FC236}">
                <a16:creationId xmlns="" xmlns:a16="http://schemas.microsoft.com/office/drawing/2014/main" id="{5D837A33-61A5-4C5A-B4CF-89A562E6F300}"/>
              </a:ext>
            </a:extLst>
          </p:cNvPr>
          <p:cNvSpPr/>
          <p:nvPr/>
        </p:nvSpPr>
        <p:spPr>
          <a:xfrm rot="5400000">
            <a:off x="7814662" y="-1233352"/>
            <a:ext cx="1046770" cy="6299164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6350" cap="flat">
            <a:solidFill>
              <a:srgbClr val="4C3B21">
                <a:alpha val="17000"/>
              </a:srgbClr>
            </a:solidFill>
            <a:prstDash val="solid"/>
            <a:miter lim="800000"/>
          </a:ln>
          <a:effectLst>
            <a:outerShdw blurRad="304800" rotWithShape="0">
              <a:srgbClr val="6B522E">
                <a:alpha val="28000"/>
              </a:srgbClr>
            </a:outerShdw>
          </a:effectLst>
        </p:spPr>
        <p:txBody>
          <a:bodyPr rot="0" spcFirstLastPara="0" vertOverflow="overflow" horzOverflow="overflow" vert="horz" wrap="square" lIns="45719" tIns="45719" rIns="4571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21" name="Заголовок 6">
            <a:extLst>
              <a:ext uri="{FF2B5EF4-FFF2-40B4-BE49-F238E27FC236}">
                <a16:creationId xmlns="" xmlns:a16="http://schemas.microsoft.com/office/drawing/2014/main" id="{574F1835-BC18-4567-8A47-F41C9EDADD61}"/>
              </a:ext>
            </a:extLst>
          </p:cNvPr>
          <p:cNvSpPr txBox="1">
            <a:spLocks/>
          </p:cNvSpPr>
          <p:nvPr/>
        </p:nvSpPr>
        <p:spPr>
          <a:xfrm>
            <a:off x="6884898" y="1906487"/>
            <a:ext cx="2917157" cy="48454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624E33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ru-RU" sz="2400">
                <a:solidFill>
                  <a:srgbClr val="3C3837"/>
                </a:solidFill>
              </a:rPr>
              <a:t>1 724 </a:t>
            </a:r>
            <a:r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участника</a:t>
            </a:r>
          </a:p>
        </p:txBody>
      </p:sp>
      <p:cxnSp>
        <p:nvCxnSpPr>
          <p:cNvPr id="28" name="Прямая соединительная линия 27">
            <a:extLst>
              <a:ext uri="{FF2B5EF4-FFF2-40B4-BE49-F238E27FC236}">
                <a16:creationId xmlns="" xmlns:a16="http://schemas.microsoft.com/office/drawing/2014/main" id="{463D7E5D-77B8-41E9-B299-AB7A519512AC}"/>
              </a:ext>
            </a:extLst>
          </p:cNvPr>
          <p:cNvCxnSpPr>
            <a:cxnSpLocks/>
          </p:cNvCxnSpPr>
          <p:nvPr/>
        </p:nvCxnSpPr>
        <p:spPr>
          <a:xfrm flipH="1">
            <a:off x="5531006" y="2137607"/>
            <a:ext cx="1690157" cy="0"/>
          </a:xfrm>
          <a:prstGeom prst="line">
            <a:avLst/>
          </a:prstGeom>
          <a:noFill/>
          <a:ln w="28575" cap="rnd">
            <a:solidFill>
              <a:schemeClr val="accent5"/>
            </a:solidFill>
            <a:prstDash val="sysDot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9" name="Прямая соединительная линия 28">
            <a:extLst>
              <a:ext uri="{FF2B5EF4-FFF2-40B4-BE49-F238E27FC236}">
                <a16:creationId xmlns="" xmlns:a16="http://schemas.microsoft.com/office/drawing/2014/main" id="{C964B8B9-CE5B-42B8-B734-E93D8FE71CCB}"/>
              </a:ext>
            </a:extLst>
          </p:cNvPr>
          <p:cNvCxnSpPr>
            <a:cxnSpLocks/>
          </p:cNvCxnSpPr>
          <p:nvPr/>
        </p:nvCxnSpPr>
        <p:spPr>
          <a:xfrm flipH="1">
            <a:off x="9445083" y="2137607"/>
            <a:ext cx="1690157" cy="0"/>
          </a:xfrm>
          <a:prstGeom prst="line">
            <a:avLst/>
          </a:prstGeom>
          <a:noFill/>
          <a:ln w="28575" cap="rnd">
            <a:solidFill>
              <a:schemeClr val="accent5"/>
            </a:solidFill>
            <a:prstDash val="sysDot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7" name="Прямоугольник: скругленные углы 36">
            <a:extLst>
              <a:ext uri="{FF2B5EF4-FFF2-40B4-BE49-F238E27FC236}">
                <a16:creationId xmlns="" xmlns:a16="http://schemas.microsoft.com/office/drawing/2014/main" id="{CBEC5563-FD44-49F8-83A0-AD4FAAD6ECA8}"/>
              </a:ext>
            </a:extLst>
          </p:cNvPr>
          <p:cNvSpPr/>
          <p:nvPr/>
        </p:nvSpPr>
        <p:spPr>
          <a:xfrm rot="5400000">
            <a:off x="7658100" y="2271091"/>
            <a:ext cx="1359893" cy="6299164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6350" cap="flat">
            <a:solidFill>
              <a:srgbClr val="4C3B21">
                <a:alpha val="17000"/>
              </a:srgbClr>
            </a:solidFill>
            <a:prstDash val="solid"/>
            <a:miter lim="800000"/>
          </a:ln>
          <a:effectLst>
            <a:outerShdw blurRad="304800" rotWithShape="0">
              <a:srgbClr val="6B522E">
                <a:alpha val="28000"/>
              </a:srgbClr>
            </a:outerShdw>
          </a:effectLst>
        </p:spPr>
        <p:txBody>
          <a:bodyPr rot="0" spcFirstLastPara="0" vertOverflow="overflow" horzOverflow="overflow" vert="horz" wrap="square" lIns="45719" tIns="45719" rIns="4571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38" name="Заголовок 6">
            <a:extLst>
              <a:ext uri="{FF2B5EF4-FFF2-40B4-BE49-F238E27FC236}">
                <a16:creationId xmlns="" xmlns:a16="http://schemas.microsoft.com/office/drawing/2014/main" id="{721F23FA-8F53-4CBF-A887-421039B1D801}"/>
              </a:ext>
            </a:extLst>
          </p:cNvPr>
          <p:cNvSpPr txBox="1">
            <a:spLocks/>
          </p:cNvSpPr>
          <p:nvPr/>
        </p:nvSpPr>
        <p:spPr>
          <a:xfrm>
            <a:off x="6700897" y="5552208"/>
            <a:ext cx="3285159" cy="48454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624E33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ru-RU" sz="2400" dirty="0">
                <a:solidFill>
                  <a:srgbClr val="3C3837"/>
                </a:solidFill>
              </a:rPr>
              <a:t>27 </a:t>
            </a:r>
            <a:r>
              <a:rPr lang="ru-RU" sz="1800" b="0" dirty="0">
                <a:solidFill>
                  <a:srgbClr val="3C3837"/>
                </a:solidFill>
                <a:latin typeface="Calibri"/>
              </a:rPr>
              <a:t>встреч,</a:t>
            </a:r>
            <a:r>
              <a:rPr lang="ru-RU" sz="2400" dirty="0">
                <a:solidFill>
                  <a:srgbClr val="3C3837"/>
                </a:solidFill>
              </a:rPr>
              <a:t> 78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участников</a:t>
            </a:r>
          </a:p>
        </p:txBody>
      </p:sp>
      <p:cxnSp>
        <p:nvCxnSpPr>
          <p:cNvPr id="44" name="Прямая соединительная линия 43">
            <a:extLst>
              <a:ext uri="{FF2B5EF4-FFF2-40B4-BE49-F238E27FC236}">
                <a16:creationId xmlns="" xmlns:a16="http://schemas.microsoft.com/office/drawing/2014/main" id="{2563794E-78F7-4F22-80D7-5AEB186AEC8F}"/>
              </a:ext>
            </a:extLst>
          </p:cNvPr>
          <p:cNvCxnSpPr>
            <a:cxnSpLocks/>
          </p:cNvCxnSpPr>
          <p:nvPr/>
        </p:nvCxnSpPr>
        <p:spPr>
          <a:xfrm flipH="1">
            <a:off x="5531008" y="5774079"/>
            <a:ext cx="1250792" cy="0"/>
          </a:xfrm>
          <a:prstGeom prst="line">
            <a:avLst/>
          </a:prstGeom>
          <a:noFill/>
          <a:ln w="28575" cap="rnd">
            <a:solidFill>
              <a:schemeClr val="accent5"/>
            </a:solidFill>
            <a:prstDash val="sysDot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45" name="Прямая соединительная линия 44">
            <a:extLst>
              <a:ext uri="{FF2B5EF4-FFF2-40B4-BE49-F238E27FC236}">
                <a16:creationId xmlns="" xmlns:a16="http://schemas.microsoft.com/office/drawing/2014/main" id="{F2E959DC-D375-40A2-AF29-ADA711FF1BD9}"/>
              </a:ext>
            </a:extLst>
          </p:cNvPr>
          <p:cNvCxnSpPr>
            <a:cxnSpLocks/>
          </p:cNvCxnSpPr>
          <p:nvPr/>
        </p:nvCxnSpPr>
        <p:spPr>
          <a:xfrm flipH="1">
            <a:off x="9886950" y="5774079"/>
            <a:ext cx="1248292" cy="0"/>
          </a:xfrm>
          <a:prstGeom prst="line">
            <a:avLst/>
          </a:prstGeom>
          <a:noFill/>
          <a:ln w="28575" cap="rnd">
            <a:solidFill>
              <a:schemeClr val="accent5"/>
            </a:solidFill>
            <a:prstDash val="sysDot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grpSp>
        <p:nvGrpSpPr>
          <p:cNvPr id="55" name="Группа 54">
            <a:extLst>
              <a:ext uri="{FF2B5EF4-FFF2-40B4-BE49-F238E27FC236}">
                <a16:creationId xmlns="" xmlns:a16="http://schemas.microsoft.com/office/drawing/2014/main" id="{7E8ED0D2-5055-46ED-A31C-3B4DFF9A03DE}"/>
              </a:ext>
            </a:extLst>
          </p:cNvPr>
          <p:cNvGrpSpPr/>
          <p:nvPr/>
        </p:nvGrpSpPr>
        <p:grpSpPr>
          <a:xfrm>
            <a:off x="1138993" y="1042000"/>
            <a:ext cx="3523400" cy="3415407"/>
            <a:chOff x="1120069" y="1135982"/>
            <a:chExt cx="3196534" cy="3098560"/>
          </a:xfrm>
        </p:grpSpPr>
        <p:pic>
          <p:nvPicPr>
            <p:cNvPr id="12" name="Рисунок 11" descr="Изображение выглядит как человек, гора, вода, природа&#10;&#10;Автоматически созданное описание">
              <a:extLst>
                <a:ext uri="{FF2B5EF4-FFF2-40B4-BE49-F238E27FC236}">
                  <a16:creationId xmlns="" xmlns:a16="http://schemas.microsoft.com/office/drawing/2014/main" id="{5FEDC44A-A72C-D843-98DB-30CE071E7AF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27148" y="1244903"/>
              <a:ext cx="3002259" cy="2828617"/>
            </a:xfrm>
            <a:prstGeom prst="ellipse">
              <a:avLst/>
            </a:prstGeom>
          </p:spPr>
        </p:pic>
        <p:sp>
          <p:nvSpPr>
            <p:cNvPr id="41" name="Дуга 40">
              <a:extLst>
                <a:ext uri="{FF2B5EF4-FFF2-40B4-BE49-F238E27FC236}">
                  <a16:creationId xmlns="" xmlns:a16="http://schemas.microsoft.com/office/drawing/2014/main" id="{9C1EA03B-A11E-4AE8-AF7D-B9F6DAA7F3B6}"/>
                </a:ext>
              </a:extLst>
            </p:cNvPr>
            <p:cNvSpPr/>
            <p:nvPr/>
          </p:nvSpPr>
          <p:spPr>
            <a:xfrm>
              <a:off x="1120069" y="1135982"/>
              <a:ext cx="3196534" cy="3098560"/>
            </a:xfrm>
            <a:prstGeom prst="arc">
              <a:avLst>
                <a:gd name="adj1" fmla="val 9565307"/>
                <a:gd name="adj2" fmla="val 68126"/>
              </a:avLst>
            </a:prstGeom>
            <a:noFill/>
            <a:ln w="28575" cap="rnd">
              <a:solidFill>
                <a:schemeClr val="accent5"/>
              </a:solidFill>
              <a:prstDash val="sysDot"/>
              <a:round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54" name="Группа 53">
            <a:extLst>
              <a:ext uri="{FF2B5EF4-FFF2-40B4-BE49-F238E27FC236}">
                <a16:creationId xmlns="" xmlns:a16="http://schemas.microsoft.com/office/drawing/2014/main" id="{31410D53-D426-4B0D-B28F-0D92CC91BCAA}"/>
              </a:ext>
            </a:extLst>
          </p:cNvPr>
          <p:cNvGrpSpPr/>
          <p:nvPr/>
        </p:nvGrpSpPr>
        <p:grpSpPr>
          <a:xfrm>
            <a:off x="287724" y="3146240"/>
            <a:ext cx="2647600" cy="2640155"/>
            <a:chOff x="272144" y="3439886"/>
            <a:chExt cx="2629635" cy="2622240"/>
          </a:xfrm>
        </p:grpSpPr>
        <p:sp>
          <p:nvSpPr>
            <p:cNvPr id="43" name="Дуга 42">
              <a:extLst>
                <a:ext uri="{FF2B5EF4-FFF2-40B4-BE49-F238E27FC236}">
                  <a16:creationId xmlns="" xmlns:a16="http://schemas.microsoft.com/office/drawing/2014/main" id="{E0D592F8-6DD3-4931-9429-52238F63872B}"/>
                </a:ext>
              </a:extLst>
            </p:cNvPr>
            <p:cNvSpPr/>
            <p:nvPr/>
          </p:nvSpPr>
          <p:spPr>
            <a:xfrm>
              <a:off x="272144" y="3439886"/>
              <a:ext cx="2629635" cy="2622240"/>
            </a:xfrm>
            <a:prstGeom prst="arc">
              <a:avLst>
                <a:gd name="adj1" fmla="val 2124614"/>
                <a:gd name="adj2" fmla="val 12013065"/>
              </a:avLst>
            </a:prstGeom>
            <a:noFill/>
            <a:ln w="28575" cap="rnd">
              <a:solidFill>
                <a:schemeClr val="accent5"/>
              </a:solidFill>
              <a:prstDash val="sysDot"/>
              <a:round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52" name="Рисунок 51">
              <a:extLst>
                <a:ext uri="{FF2B5EF4-FFF2-40B4-BE49-F238E27FC236}">
                  <a16:creationId xmlns="" xmlns:a16="http://schemas.microsoft.com/office/drawing/2014/main" id="{E1D164B6-B766-443B-B3CA-97C46A0752B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-561"/>
            <a:stretch/>
          </p:blipFill>
          <p:spPr>
            <a:xfrm>
              <a:off x="392223" y="3560750"/>
              <a:ext cx="2402237" cy="2374249"/>
            </a:xfrm>
            <a:prstGeom prst="ellipse">
              <a:avLst/>
            </a:prstGeom>
          </p:spPr>
        </p:pic>
      </p:grpSp>
      <p:grpSp>
        <p:nvGrpSpPr>
          <p:cNvPr id="56" name="Группа 55">
            <a:extLst>
              <a:ext uri="{FF2B5EF4-FFF2-40B4-BE49-F238E27FC236}">
                <a16:creationId xmlns="" xmlns:a16="http://schemas.microsoft.com/office/drawing/2014/main" id="{40F3EDAE-44CF-4230-B65A-BB91E9202FB8}"/>
              </a:ext>
            </a:extLst>
          </p:cNvPr>
          <p:cNvGrpSpPr/>
          <p:nvPr/>
        </p:nvGrpSpPr>
        <p:grpSpPr>
          <a:xfrm>
            <a:off x="2832877" y="4399979"/>
            <a:ext cx="2051706" cy="1985724"/>
            <a:chOff x="2896721" y="3280124"/>
            <a:chExt cx="2068164" cy="2001653"/>
          </a:xfrm>
        </p:grpSpPr>
        <p:pic>
          <p:nvPicPr>
            <p:cNvPr id="53" name="Рисунок 52">
              <a:extLst>
                <a:ext uri="{FF2B5EF4-FFF2-40B4-BE49-F238E27FC236}">
                  <a16:creationId xmlns="" xmlns:a16="http://schemas.microsoft.com/office/drawing/2014/main" id="{1AD626FC-6010-4EC4-A5AD-12A94D2E40C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004786" y="3394568"/>
              <a:ext cx="1848426" cy="1782711"/>
            </a:xfrm>
            <a:prstGeom prst="ellipse">
              <a:avLst/>
            </a:prstGeom>
          </p:spPr>
        </p:pic>
        <p:sp>
          <p:nvSpPr>
            <p:cNvPr id="42" name="Дуга 41">
              <a:extLst>
                <a:ext uri="{FF2B5EF4-FFF2-40B4-BE49-F238E27FC236}">
                  <a16:creationId xmlns="" xmlns:a16="http://schemas.microsoft.com/office/drawing/2014/main" id="{0DB78678-A673-41B0-AFAE-D8E6DC2D1724}"/>
                </a:ext>
              </a:extLst>
            </p:cNvPr>
            <p:cNvSpPr/>
            <p:nvPr/>
          </p:nvSpPr>
          <p:spPr>
            <a:xfrm>
              <a:off x="2896721" y="3280124"/>
              <a:ext cx="2068164" cy="2001653"/>
            </a:xfrm>
            <a:prstGeom prst="arc">
              <a:avLst>
                <a:gd name="adj1" fmla="val 19997464"/>
                <a:gd name="adj2" fmla="val 8946657"/>
              </a:avLst>
            </a:prstGeom>
            <a:noFill/>
            <a:ln w="28575" cap="rnd">
              <a:solidFill>
                <a:schemeClr val="accent5"/>
              </a:solidFill>
              <a:prstDash val="sysDot"/>
              <a:round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32" name="Полилиния: фигура 31">
            <a:extLst>
              <a:ext uri="{FF2B5EF4-FFF2-40B4-BE49-F238E27FC236}">
                <a16:creationId xmlns="" xmlns:a16="http://schemas.microsoft.com/office/drawing/2014/main" id="{1DC8B4FE-D112-482E-BF0A-1461EDD2A87D}"/>
              </a:ext>
            </a:extLst>
          </p:cNvPr>
          <p:cNvSpPr/>
          <p:nvPr/>
        </p:nvSpPr>
        <p:spPr>
          <a:xfrm>
            <a:off x="6117908" y="1496836"/>
            <a:ext cx="376238" cy="449346"/>
          </a:xfrm>
          <a:custGeom>
            <a:avLst/>
            <a:gdLst>
              <a:gd name="connsiteX0" fmla="*/ 517080 w 650784"/>
              <a:gd name="connsiteY0" fmla="*/ 34081 h 777240"/>
              <a:gd name="connsiteX1" fmla="*/ 590178 w 650784"/>
              <a:gd name="connsiteY1" fmla="*/ 16501 h 777240"/>
              <a:gd name="connsiteX2" fmla="*/ 649396 w 650784"/>
              <a:gd name="connsiteY2" fmla="*/ 2313 h 777240"/>
              <a:gd name="connsiteX3" fmla="*/ 569822 w 650784"/>
              <a:gd name="connsiteY3" fmla="*/ 92066 h 777240"/>
              <a:gd name="connsiteX4" fmla="*/ 432880 w 650784"/>
              <a:gd name="connsiteY4" fmla="*/ 601590 h 777240"/>
              <a:gd name="connsiteX5" fmla="*/ 353305 w 650784"/>
              <a:gd name="connsiteY5" fmla="*/ 691651 h 777240"/>
              <a:gd name="connsiteX6" fmla="*/ 123834 w 650784"/>
              <a:gd name="connsiteY6" fmla="*/ 746860 h 777240"/>
              <a:gd name="connsiteX7" fmla="*/ 61223 w 650784"/>
              <a:gd name="connsiteY7" fmla="*/ 761973 h 777240"/>
              <a:gd name="connsiteX8" fmla="*/ 2313 w 650784"/>
              <a:gd name="connsiteY8" fmla="*/ 776161 h 777240"/>
              <a:gd name="connsiteX9" fmla="*/ 81888 w 650784"/>
              <a:gd name="connsiteY9" fmla="*/ 686408 h 777240"/>
              <a:gd name="connsiteX10" fmla="*/ 218830 w 650784"/>
              <a:gd name="connsiteY10" fmla="*/ 176884 h 777240"/>
              <a:gd name="connsiteX11" fmla="*/ 298405 w 650784"/>
              <a:gd name="connsiteY11" fmla="*/ 86823 h 777240"/>
              <a:gd name="connsiteX12" fmla="*/ 517080 w 650784"/>
              <a:gd name="connsiteY12" fmla="*/ 34081 h 777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50784" h="777240">
                <a:moveTo>
                  <a:pt x="517080" y="34081"/>
                </a:moveTo>
                <a:lnTo>
                  <a:pt x="590178" y="16501"/>
                </a:lnTo>
                <a:lnTo>
                  <a:pt x="649396" y="2313"/>
                </a:lnTo>
                <a:cubicBezTo>
                  <a:pt x="613927" y="10949"/>
                  <a:pt x="582159" y="46727"/>
                  <a:pt x="569822" y="92066"/>
                </a:cubicBezTo>
                <a:lnTo>
                  <a:pt x="432880" y="601590"/>
                </a:lnTo>
                <a:cubicBezTo>
                  <a:pt x="420542" y="647238"/>
                  <a:pt x="388774" y="683015"/>
                  <a:pt x="353305" y="691651"/>
                </a:cubicBezTo>
                <a:lnTo>
                  <a:pt x="123834" y="746860"/>
                </a:lnTo>
                <a:lnTo>
                  <a:pt x="61223" y="761973"/>
                </a:lnTo>
                <a:lnTo>
                  <a:pt x="2313" y="776161"/>
                </a:lnTo>
                <a:cubicBezTo>
                  <a:pt x="37783" y="767525"/>
                  <a:pt x="69551" y="731747"/>
                  <a:pt x="81888" y="686408"/>
                </a:cubicBezTo>
                <a:lnTo>
                  <a:pt x="218830" y="176884"/>
                </a:lnTo>
                <a:cubicBezTo>
                  <a:pt x="231167" y="131236"/>
                  <a:pt x="262935" y="95459"/>
                  <a:pt x="298405" y="86823"/>
                </a:cubicBezTo>
                <a:lnTo>
                  <a:pt x="517080" y="34081"/>
                </a:lnTo>
                <a:close/>
              </a:path>
            </a:pathLst>
          </a:custGeom>
          <a:gradFill>
            <a:gsLst>
              <a:gs pos="0">
                <a:srgbClr val="FFE682"/>
              </a:gs>
              <a:gs pos="100000">
                <a:srgbClr val="FFC61B"/>
              </a:gs>
            </a:gsLst>
            <a:lin ang="16800000" scaled="0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="" xmlns:a16="http://schemas.microsoft.com/office/drawing/2014/main" id="{238B338A-FECC-FB42-85B9-6B74AF3924F9}"/>
              </a:ext>
            </a:extLst>
          </p:cNvPr>
          <p:cNvSpPr/>
          <p:nvPr/>
        </p:nvSpPr>
        <p:spPr>
          <a:xfrm>
            <a:off x="5510195" y="1557681"/>
            <a:ext cx="566656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Форум</a:t>
            </a:r>
            <a:r>
              <a:rPr kumimoji="0" lang="ru-RU" sz="2000" b="0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и </a:t>
            </a:r>
            <a:r>
              <a:rPr kumimoji="0" lang="ru-RU" sz="2000" b="1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6 собственных конференций </a:t>
            </a:r>
            <a:r>
              <a:rPr kumimoji="0" lang="ru-RU" sz="2000" b="0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/>
            </a:r>
            <a:br>
              <a:rPr kumimoji="0" lang="ru-RU" sz="2000" b="0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kumimoji="0" lang="ru-RU" sz="2000" b="0" i="1" u="none" strike="noStrike" kern="1200" cap="none" spc="0" normalizeH="0" baseline="0" noProof="0">
              <a:ln>
                <a:noFill/>
              </a:ln>
              <a:solidFill>
                <a:srgbClr val="3C3837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5" name="Полилиния: фигура 34">
            <a:extLst>
              <a:ext uri="{FF2B5EF4-FFF2-40B4-BE49-F238E27FC236}">
                <a16:creationId xmlns="" xmlns:a16="http://schemas.microsoft.com/office/drawing/2014/main" id="{BD0F35B3-ADEE-45C0-92C9-0437E71814BA}"/>
              </a:ext>
            </a:extLst>
          </p:cNvPr>
          <p:cNvSpPr/>
          <p:nvPr/>
        </p:nvSpPr>
        <p:spPr>
          <a:xfrm>
            <a:off x="5992226" y="2747210"/>
            <a:ext cx="376238" cy="449346"/>
          </a:xfrm>
          <a:custGeom>
            <a:avLst/>
            <a:gdLst>
              <a:gd name="connsiteX0" fmla="*/ 517080 w 650784"/>
              <a:gd name="connsiteY0" fmla="*/ 34081 h 777240"/>
              <a:gd name="connsiteX1" fmla="*/ 590178 w 650784"/>
              <a:gd name="connsiteY1" fmla="*/ 16501 h 777240"/>
              <a:gd name="connsiteX2" fmla="*/ 649396 w 650784"/>
              <a:gd name="connsiteY2" fmla="*/ 2313 h 777240"/>
              <a:gd name="connsiteX3" fmla="*/ 569822 w 650784"/>
              <a:gd name="connsiteY3" fmla="*/ 92066 h 777240"/>
              <a:gd name="connsiteX4" fmla="*/ 432880 w 650784"/>
              <a:gd name="connsiteY4" fmla="*/ 601590 h 777240"/>
              <a:gd name="connsiteX5" fmla="*/ 353305 w 650784"/>
              <a:gd name="connsiteY5" fmla="*/ 691651 h 777240"/>
              <a:gd name="connsiteX6" fmla="*/ 123834 w 650784"/>
              <a:gd name="connsiteY6" fmla="*/ 746860 h 777240"/>
              <a:gd name="connsiteX7" fmla="*/ 61223 w 650784"/>
              <a:gd name="connsiteY7" fmla="*/ 761973 h 777240"/>
              <a:gd name="connsiteX8" fmla="*/ 2313 w 650784"/>
              <a:gd name="connsiteY8" fmla="*/ 776161 h 777240"/>
              <a:gd name="connsiteX9" fmla="*/ 81888 w 650784"/>
              <a:gd name="connsiteY9" fmla="*/ 686408 h 777240"/>
              <a:gd name="connsiteX10" fmla="*/ 218830 w 650784"/>
              <a:gd name="connsiteY10" fmla="*/ 176884 h 777240"/>
              <a:gd name="connsiteX11" fmla="*/ 298405 w 650784"/>
              <a:gd name="connsiteY11" fmla="*/ 86823 h 777240"/>
              <a:gd name="connsiteX12" fmla="*/ 517080 w 650784"/>
              <a:gd name="connsiteY12" fmla="*/ 34081 h 777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50784" h="777240">
                <a:moveTo>
                  <a:pt x="517080" y="34081"/>
                </a:moveTo>
                <a:lnTo>
                  <a:pt x="590178" y="16501"/>
                </a:lnTo>
                <a:lnTo>
                  <a:pt x="649396" y="2313"/>
                </a:lnTo>
                <a:cubicBezTo>
                  <a:pt x="613927" y="10949"/>
                  <a:pt x="582159" y="46727"/>
                  <a:pt x="569822" y="92066"/>
                </a:cubicBezTo>
                <a:lnTo>
                  <a:pt x="432880" y="601590"/>
                </a:lnTo>
                <a:cubicBezTo>
                  <a:pt x="420542" y="647238"/>
                  <a:pt x="388774" y="683015"/>
                  <a:pt x="353305" y="691651"/>
                </a:cubicBezTo>
                <a:lnTo>
                  <a:pt x="123834" y="746860"/>
                </a:lnTo>
                <a:lnTo>
                  <a:pt x="61223" y="761973"/>
                </a:lnTo>
                <a:lnTo>
                  <a:pt x="2313" y="776161"/>
                </a:lnTo>
                <a:cubicBezTo>
                  <a:pt x="37783" y="767525"/>
                  <a:pt x="69551" y="731747"/>
                  <a:pt x="81888" y="686408"/>
                </a:cubicBezTo>
                <a:lnTo>
                  <a:pt x="218830" y="176884"/>
                </a:lnTo>
                <a:cubicBezTo>
                  <a:pt x="231167" y="131236"/>
                  <a:pt x="262935" y="95459"/>
                  <a:pt x="298405" y="86823"/>
                </a:cubicBezTo>
                <a:lnTo>
                  <a:pt x="517080" y="34081"/>
                </a:lnTo>
                <a:close/>
              </a:path>
            </a:pathLst>
          </a:custGeom>
          <a:gradFill>
            <a:gsLst>
              <a:gs pos="0">
                <a:srgbClr val="FFE682"/>
              </a:gs>
              <a:gs pos="100000">
                <a:srgbClr val="FFC61B"/>
              </a:gs>
            </a:gsLst>
            <a:lin ang="16800000" scaled="0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6" name="Полилиния: фигура 35">
            <a:extLst>
              <a:ext uri="{FF2B5EF4-FFF2-40B4-BE49-F238E27FC236}">
                <a16:creationId xmlns="" xmlns:a16="http://schemas.microsoft.com/office/drawing/2014/main" id="{501566E8-F7A3-4E79-9DF0-CC8490D73F37}"/>
              </a:ext>
            </a:extLst>
          </p:cNvPr>
          <p:cNvSpPr/>
          <p:nvPr/>
        </p:nvSpPr>
        <p:spPr>
          <a:xfrm>
            <a:off x="6324659" y="4857950"/>
            <a:ext cx="376238" cy="449346"/>
          </a:xfrm>
          <a:custGeom>
            <a:avLst/>
            <a:gdLst>
              <a:gd name="connsiteX0" fmla="*/ 517080 w 650784"/>
              <a:gd name="connsiteY0" fmla="*/ 34081 h 777240"/>
              <a:gd name="connsiteX1" fmla="*/ 590178 w 650784"/>
              <a:gd name="connsiteY1" fmla="*/ 16501 h 777240"/>
              <a:gd name="connsiteX2" fmla="*/ 649396 w 650784"/>
              <a:gd name="connsiteY2" fmla="*/ 2313 h 777240"/>
              <a:gd name="connsiteX3" fmla="*/ 569822 w 650784"/>
              <a:gd name="connsiteY3" fmla="*/ 92066 h 777240"/>
              <a:gd name="connsiteX4" fmla="*/ 432880 w 650784"/>
              <a:gd name="connsiteY4" fmla="*/ 601590 h 777240"/>
              <a:gd name="connsiteX5" fmla="*/ 353305 w 650784"/>
              <a:gd name="connsiteY5" fmla="*/ 691651 h 777240"/>
              <a:gd name="connsiteX6" fmla="*/ 123834 w 650784"/>
              <a:gd name="connsiteY6" fmla="*/ 746860 h 777240"/>
              <a:gd name="connsiteX7" fmla="*/ 61223 w 650784"/>
              <a:gd name="connsiteY7" fmla="*/ 761973 h 777240"/>
              <a:gd name="connsiteX8" fmla="*/ 2313 w 650784"/>
              <a:gd name="connsiteY8" fmla="*/ 776161 h 777240"/>
              <a:gd name="connsiteX9" fmla="*/ 81888 w 650784"/>
              <a:gd name="connsiteY9" fmla="*/ 686408 h 777240"/>
              <a:gd name="connsiteX10" fmla="*/ 218830 w 650784"/>
              <a:gd name="connsiteY10" fmla="*/ 176884 h 777240"/>
              <a:gd name="connsiteX11" fmla="*/ 298405 w 650784"/>
              <a:gd name="connsiteY11" fmla="*/ 86823 h 777240"/>
              <a:gd name="connsiteX12" fmla="*/ 517080 w 650784"/>
              <a:gd name="connsiteY12" fmla="*/ 34081 h 777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50784" h="777240">
                <a:moveTo>
                  <a:pt x="517080" y="34081"/>
                </a:moveTo>
                <a:lnTo>
                  <a:pt x="590178" y="16501"/>
                </a:lnTo>
                <a:lnTo>
                  <a:pt x="649396" y="2313"/>
                </a:lnTo>
                <a:cubicBezTo>
                  <a:pt x="613927" y="10949"/>
                  <a:pt x="582159" y="46727"/>
                  <a:pt x="569822" y="92066"/>
                </a:cubicBezTo>
                <a:lnTo>
                  <a:pt x="432880" y="601590"/>
                </a:lnTo>
                <a:cubicBezTo>
                  <a:pt x="420542" y="647238"/>
                  <a:pt x="388774" y="683015"/>
                  <a:pt x="353305" y="691651"/>
                </a:cubicBezTo>
                <a:lnTo>
                  <a:pt x="123834" y="746860"/>
                </a:lnTo>
                <a:lnTo>
                  <a:pt x="61223" y="761973"/>
                </a:lnTo>
                <a:lnTo>
                  <a:pt x="2313" y="776161"/>
                </a:lnTo>
                <a:cubicBezTo>
                  <a:pt x="37783" y="767525"/>
                  <a:pt x="69551" y="731747"/>
                  <a:pt x="81888" y="686408"/>
                </a:cubicBezTo>
                <a:lnTo>
                  <a:pt x="218830" y="176884"/>
                </a:lnTo>
                <a:cubicBezTo>
                  <a:pt x="231167" y="131236"/>
                  <a:pt x="262935" y="95459"/>
                  <a:pt x="298405" y="86823"/>
                </a:cubicBezTo>
                <a:lnTo>
                  <a:pt x="517080" y="34081"/>
                </a:lnTo>
                <a:close/>
              </a:path>
            </a:pathLst>
          </a:custGeom>
          <a:gradFill>
            <a:gsLst>
              <a:gs pos="0">
                <a:srgbClr val="FFE682"/>
              </a:gs>
              <a:gs pos="100000">
                <a:srgbClr val="FFC61B"/>
              </a:gs>
            </a:gsLst>
            <a:lin ang="16800000" scaled="0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="" xmlns:a16="http://schemas.microsoft.com/office/drawing/2014/main" id="{A32BE9B8-1DEB-6E4C-9E34-60B446BC65B8}"/>
              </a:ext>
            </a:extLst>
          </p:cNvPr>
          <p:cNvSpPr/>
          <p:nvPr/>
        </p:nvSpPr>
        <p:spPr>
          <a:xfrm>
            <a:off x="5349748" y="2805038"/>
            <a:ext cx="5987457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рганизация участия лидеров проектов </a:t>
            </a:r>
            <a:br>
              <a:rPr kumimoji="0" lang="ru-RU" sz="2000" b="1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kumimoji="0" lang="ru-RU" sz="2000" b="1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 работе значимых международных </a:t>
            </a:r>
            <a:br>
              <a:rPr kumimoji="0" lang="ru-RU" sz="2000" b="1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kumimoji="0" lang="ru-RU" sz="2000" b="1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 общероссийских форумов </a:t>
            </a:r>
            <a:r>
              <a:rPr kumimoji="0" lang="ru-RU" sz="2000" b="0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ПМЭФ, ВЭФ, РИФ, РСВ, </a:t>
            </a:r>
            <a:br>
              <a:rPr kumimoji="0" lang="ru-RU" sz="2000" b="0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kumimoji="0" lang="ru-RU" sz="2000" b="0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арижский форум мира и др.)</a:t>
            </a:r>
            <a:endParaRPr kumimoji="0" lang="ru-RU" sz="2000" b="0" i="1" u="none" strike="noStrike" kern="1200" cap="none" spc="0" normalizeH="0" baseline="0" noProof="0">
              <a:ln>
                <a:noFill/>
              </a:ln>
              <a:solidFill>
                <a:srgbClr val="3C3837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="" xmlns:a16="http://schemas.microsoft.com/office/drawing/2014/main" id="{37A8001F-6439-0444-82E1-E62E21C6438D}"/>
              </a:ext>
            </a:extLst>
          </p:cNvPr>
          <p:cNvSpPr/>
          <p:nvPr/>
        </p:nvSpPr>
        <p:spPr>
          <a:xfrm>
            <a:off x="5031981" y="4927859"/>
            <a:ext cx="662299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>
                <a:solidFill>
                  <a:srgbClr val="3C3837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Участие победителей во встречах </a:t>
            </a:r>
            <a:br>
              <a:rPr lang="ru-RU" sz="2000" b="1" dirty="0">
                <a:solidFill>
                  <a:srgbClr val="3C3837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2000" b="1" dirty="0">
                <a:solidFill>
                  <a:srgbClr val="3C3837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с Президентом Российской Федерации </a:t>
            </a:r>
            <a:r>
              <a:rPr lang="ru-RU" sz="2000" b="1" dirty="0" err="1">
                <a:solidFill>
                  <a:srgbClr val="3C3837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В.В.Путиным</a:t>
            </a:r>
            <a:r>
              <a:rPr lang="ru-RU" sz="2000" b="1" dirty="0">
                <a:solidFill>
                  <a:srgbClr val="3C3837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57602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Овал 100">
            <a:extLst>
              <a:ext uri="{FF2B5EF4-FFF2-40B4-BE49-F238E27FC236}">
                <a16:creationId xmlns="" xmlns:a16="http://schemas.microsoft.com/office/drawing/2014/main" id="{DE0FC95C-0E7A-4338-BA44-FF86093F166A}"/>
              </a:ext>
            </a:extLst>
          </p:cNvPr>
          <p:cNvSpPr/>
          <p:nvPr/>
        </p:nvSpPr>
        <p:spPr>
          <a:xfrm>
            <a:off x="2327778" y="5218853"/>
            <a:ext cx="218219" cy="218219"/>
          </a:xfrm>
          <a:prstGeom prst="ellipse">
            <a:avLst/>
          </a:prstGeom>
          <a:solidFill>
            <a:srgbClr val="FFFFFF"/>
          </a:solidFill>
          <a:ln w="6350" cap="flat">
            <a:solidFill>
              <a:srgbClr val="4C3B21">
                <a:alpha val="17000"/>
              </a:srgbClr>
            </a:solidFill>
            <a:prstDash val="solid"/>
            <a:miter lim="800000"/>
          </a:ln>
          <a:effectLst>
            <a:outerShdw blurRad="304800" rotWithShape="0">
              <a:srgbClr val="6B522E">
                <a:alpha val="14000"/>
              </a:srgbClr>
            </a:outerShdw>
          </a:effectLst>
        </p:spPr>
        <p:txBody>
          <a:bodyPr rot="0" spcFirstLastPara="0" vertOverflow="overflow" horzOverflow="overflow" vert="horz" wrap="square" lIns="45719" tIns="45719" rIns="4571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31" name="Группа 30">
            <a:extLst>
              <a:ext uri="{FF2B5EF4-FFF2-40B4-BE49-F238E27FC236}">
                <a16:creationId xmlns="" xmlns:a16="http://schemas.microsoft.com/office/drawing/2014/main" id="{C9A5D290-B62D-4AB5-BCEE-FEA8E4A07963}"/>
              </a:ext>
            </a:extLst>
          </p:cNvPr>
          <p:cNvGrpSpPr/>
          <p:nvPr/>
        </p:nvGrpSpPr>
        <p:grpSpPr>
          <a:xfrm>
            <a:off x="2627312" y="4664705"/>
            <a:ext cx="631886" cy="631886"/>
            <a:chOff x="2925354" y="5208103"/>
            <a:chExt cx="775996" cy="775996"/>
          </a:xfrm>
        </p:grpSpPr>
        <p:sp>
          <p:nvSpPr>
            <p:cNvPr id="71" name="Овал 70">
              <a:extLst>
                <a:ext uri="{FF2B5EF4-FFF2-40B4-BE49-F238E27FC236}">
                  <a16:creationId xmlns="" xmlns:a16="http://schemas.microsoft.com/office/drawing/2014/main" id="{0EC45D31-F1DE-49AD-BF7D-FF56136AFC7C}"/>
                </a:ext>
              </a:extLst>
            </p:cNvPr>
            <p:cNvSpPr/>
            <p:nvPr/>
          </p:nvSpPr>
          <p:spPr>
            <a:xfrm>
              <a:off x="2925354" y="5208103"/>
              <a:ext cx="775996" cy="775996"/>
            </a:xfrm>
            <a:prstGeom prst="ellipse">
              <a:avLst/>
            </a:prstGeom>
            <a:solidFill>
              <a:srgbClr val="FFFFFF"/>
            </a:solidFill>
            <a:ln w="6350" cap="flat">
              <a:solidFill>
                <a:srgbClr val="4C3B21">
                  <a:alpha val="17000"/>
                </a:srgbClr>
              </a:solidFill>
              <a:prstDash val="solid"/>
              <a:miter lim="800000"/>
            </a:ln>
            <a:effectLst>
              <a:outerShdw blurRad="304800" rotWithShape="0">
                <a:srgbClr val="6B522E">
                  <a:alpha val="14000"/>
                </a:srgbClr>
              </a:outerShdw>
            </a:effectLst>
          </p:spPr>
          <p:txBody>
            <a:bodyPr rot="0" spcFirstLastPara="0" vertOverflow="overflow" horzOverflow="overflow" vert="horz" wrap="square" lIns="45719" tIns="45719" rIns="45719" bIns="4571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42" name="Picture 2" descr="http://sarppk.ru/wp-content/uploads/2017/08/saratov_24.jpg">
              <a:extLst>
                <a:ext uri="{FF2B5EF4-FFF2-40B4-BE49-F238E27FC236}">
                  <a16:creationId xmlns="" xmlns:a16="http://schemas.microsoft.com/office/drawing/2014/main" id="{95529F2B-B5F8-4FA9-B9B3-EF50AB59E80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06678" y="5346184"/>
              <a:ext cx="409520" cy="4627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90" name="Овал 89">
            <a:extLst>
              <a:ext uri="{FF2B5EF4-FFF2-40B4-BE49-F238E27FC236}">
                <a16:creationId xmlns="" xmlns:a16="http://schemas.microsoft.com/office/drawing/2014/main" id="{B75FF061-DC7C-4F85-82C0-EF7DF6B3594F}"/>
              </a:ext>
            </a:extLst>
          </p:cNvPr>
          <p:cNvSpPr/>
          <p:nvPr/>
        </p:nvSpPr>
        <p:spPr>
          <a:xfrm>
            <a:off x="3092438" y="5690701"/>
            <a:ext cx="141658" cy="141658"/>
          </a:xfrm>
          <a:prstGeom prst="ellipse">
            <a:avLst/>
          </a:prstGeom>
          <a:solidFill>
            <a:srgbClr val="FFFFFF"/>
          </a:solidFill>
          <a:ln w="6350" cap="flat">
            <a:solidFill>
              <a:srgbClr val="4C3B21">
                <a:alpha val="17000"/>
              </a:srgbClr>
            </a:solidFill>
            <a:prstDash val="solid"/>
            <a:miter lim="800000"/>
          </a:ln>
          <a:effectLst>
            <a:outerShdw blurRad="304800" rotWithShape="0">
              <a:srgbClr val="6B522E">
                <a:alpha val="14000"/>
              </a:srgbClr>
            </a:outerShdw>
          </a:effectLst>
        </p:spPr>
        <p:txBody>
          <a:bodyPr rot="0" spcFirstLastPara="0" vertOverflow="overflow" horzOverflow="overflow" vert="horz" wrap="square" lIns="45719" tIns="45719" rIns="4571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5" name="Группа 4">
            <a:extLst>
              <a:ext uri="{FF2B5EF4-FFF2-40B4-BE49-F238E27FC236}">
                <a16:creationId xmlns="" xmlns:a16="http://schemas.microsoft.com/office/drawing/2014/main" id="{F59139A9-BFB1-474B-8941-1335179DFB23}"/>
              </a:ext>
            </a:extLst>
          </p:cNvPr>
          <p:cNvGrpSpPr/>
          <p:nvPr/>
        </p:nvGrpSpPr>
        <p:grpSpPr>
          <a:xfrm>
            <a:off x="718951" y="1105111"/>
            <a:ext cx="927888" cy="1010179"/>
            <a:chOff x="2201078" y="1886643"/>
            <a:chExt cx="775996" cy="844816"/>
          </a:xfrm>
        </p:grpSpPr>
        <p:sp>
          <p:nvSpPr>
            <p:cNvPr id="61" name="Овал 60">
              <a:extLst>
                <a:ext uri="{FF2B5EF4-FFF2-40B4-BE49-F238E27FC236}">
                  <a16:creationId xmlns="" xmlns:a16="http://schemas.microsoft.com/office/drawing/2014/main" id="{34366D97-8C82-4E3F-B314-CF324E79ECF1}"/>
                </a:ext>
              </a:extLst>
            </p:cNvPr>
            <p:cNvSpPr/>
            <p:nvPr/>
          </p:nvSpPr>
          <p:spPr>
            <a:xfrm>
              <a:off x="2201078" y="1948601"/>
              <a:ext cx="775996" cy="775996"/>
            </a:xfrm>
            <a:prstGeom prst="ellipse">
              <a:avLst/>
            </a:prstGeom>
            <a:solidFill>
              <a:srgbClr val="FFFFFF"/>
            </a:solidFill>
            <a:ln w="6350" cap="flat">
              <a:solidFill>
                <a:srgbClr val="4C3B21">
                  <a:alpha val="17000"/>
                </a:srgbClr>
              </a:solidFill>
              <a:prstDash val="solid"/>
              <a:miter lim="800000"/>
            </a:ln>
            <a:effectLst>
              <a:outerShdw blurRad="304800" rotWithShape="0">
                <a:srgbClr val="6B522E">
                  <a:alpha val="14000"/>
                </a:srgbClr>
              </a:outerShdw>
            </a:effectLst>
          </p:spPr>
          <p:txBody>
            <a:bodyPr rot="0" spcFirstLastPara="0" vertOverflow="overflow" horzOverflow="overflow" vert="horz" wrap="square" lIns="45719" tIns="45719" rIns="45719" bIns="4571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28" name="Рисунок 27">
              <a:extLst>
                <a:ext uri="{FF2B5EF4-FFF2-40B4-BE49-F238E27FC236}">
                  <a16:creationId xmlns="" xmlns:a16="http://schemas.microsoft.com/office/drawing/2014/main" id="{E19F2AF0-B12B-4D8E-A3CD-C04090907E8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5141" r="75383"/>
            <a:stretch/>
          </p:blipFill>
          <p:spPr>
            <a:xfrm>
              <a:off x="2261728" y="1886643"/>
              <a:ext cx="610674" cy="844816"/>
            </a:xfrm>
            <a:prstGeom prst="rect">
              <a:avLst/>
            </a:prstGeom>
          </p:spPr>
        </p:pic>
      </p:grpSp>
      <p:grpSp>
        <p:nvGrpSpPr>
          <p:cNvPr id="25" name="Группа 24">
            <a:extLst>
              <a:ext uri="{FF2B5EF4-FFF2-40B4-BE49-F238E27FC236}">
                <a16:creationId xmlns="" xmlns:a16="http://schemas.microsoft.com/office/drawing/2014/main" id="{37E55A8E-00FB-4380-B0D6-BC13291F717D}"/>
              </a:ext>
            </a:extLst>
          </p:cNvPr>
          <p:cNvGrpSpPr/>
          <p:nvPr/>
        </p:nvGrpSpPr>
        <p:grpSpPr>
          <a:xfrm>
            <a:off x="622776" y="4422638"/>
            <a:ext cx="820548" cy="820548"/>
            <a:chOff x="425584" y="4780199"/>
            <a:chExt cx="1174203" cy="1174203"/>
          </a:xfrm>
        </p:grpSpPr>
        <p:sp>
          <p:nvSpPr>
            <p:cNvPr id="69" name="Овал 68">
              <a:extLst>
                <a:ext uri="{FF2B5EF4-FFF2-40B4-BE49-F238E27FC236}">
                  <a16:creationId xmlns="" xmlns:a16="http://schemas.microsoft.com/office/drawing/2014/main" id="{ED293F6D-6E41-41B6-873D-494EA19F15DD}"/>
                </a:ext>
              </a:extLst>
            </p:cNvPr>
            <p:cNvSpPr/>
            <p:nvPr/>
          </p:nvSpPr>
          <p:spPr>
            <a:xfrm>
              <a:off x="425584" y="4780199"/>
              <a:ext cx="1174203" cy="1174203"/>
            </a:xfrm>
            <a:prstGeom prst="ellipse">
              <a:avLst/>
            </a:prstGeom>
            <a:solidFill>
              <a:srgbClr val="FFFFFF"/>
            </a:solidFill>
            <a:ln w="6350" cap="flat">
              <a:solidFill>
                <a:srgbClr val="4C3B21">
                  <a:alpha val="17000"/>
                </a:srgbClr>
              </a:solidFill>
              <a:prstDash val="solid"/>
              <a:miter lim="800000"/>
            </a:ln>
            <a:effectLst>
              <a:outerShdw blurRad="304800" rotWithShape="0">
                <a:srgbClr val="6B522E">
                  <a:alpha val="14000"/>
                </a:srgbClr>
              </a:outerShdw>
            </a:effectLst>
          </p:spPr>
          <p:txBody>
            <a:bodyPr rot="0" spcFirstLastPara="0" vertOverflow="overflow" horzOverflow="overflow" vert="horz" wrap="square" lIns="45719" tIns="45719" rIns="45719" bIns="4571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46" name="Рисунок 45">
              <a:extLst>
                <a:ext uri="{FF2B5EF4-FFF2-40B4-BE49-F238E27FC236}">
                  <a16:creationId xmlns="" xmlns:a16="http://schemas.microsoft.com/office/drawing/2014/main" id="{D4F3E360-0708-49CC-8A38-EA0C96C5F57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57983" y="5229778"/>
              <a:ext cx="858804" cy="261775"/>
            </a:xfrm>
            <a:prstGeom prst="rect">
              <a:avLst/>
            </a:prstGeom>
          </p:spPr>
        </p:pic>
      </p:grpSp>
      <p:grpSp>
        <p:nvGrpSpPr>
          <p:cNvPr id="16" name="Группа 15">
            <a:extLst>
              <a:ext uri="{FF2B5EF4-FFF2-40B4-BE49-F238E27FC236}">
                <a16:creationId xmlns="" xmlns:a16="http://schemas.microsoft.com/office/drawing/2014/main" id="{07277141-4C95-4F24-B4A9-CDB7A9A41B04}"/>
              </a:ext>
            </a:extLst>
          </p:cNvPr>
          <p:cNvGrpSpPr/>
          <p:nvPr/>
        </p:nvGrpSpPr>
        <p:grpSpPr>
          <a:xfrm>
            <a:off x="2309964" y="5608319"/>
            <a:ext cx="593074" cy="593074"/>
            <a:chOff x="313741" y="3127296"/>
            <a:chExt cx="775996" cy="775996"/>
          </a:xfrm>
        </p:grpSpPr>
        <p:sp>
          <p:nvSpPr>
            <p:cNvPr id="67" name="Овал 66">
              <a:extLst>
                <a:ext uri="{FF2B5EF4-FFF2-40B4-BE49-F238E27FC236}">
                  <a16:creationId xmlns="" xmlns:a16="http://schemas.microsoft.com/office/drawing/2014/main" id="{249E6D4B-7F04-4ED9-8C10-B56F58810F98}"/>
                </a:ext>
              </a:extLst>
            </p:cNvPr>
            <p:cNvSpPr/>
            <p:nvPr/>
          </p:nvSpPr>
          <p:spPr>
            <a:xfrm>
              <a:off x="313741" y="3127296"/>
              <a:ext cx="775996" cy="775996"/>
            </a:xfrm>
            <a:prstGeom prst="ellipse">
              <a:avLst/>
            </a:prstGeom>
            <a:solidFill>
              <a:srgbClr val="FFFFFF"/>
            </a:solidFill>
            <a:ln w="6350" cap="flat">
              <a:solidFill>
                <a:srgbClr val="4C3B21">
                  <a:alpha val="17000"/>
                </a:srgbClr>
              </a:solidFill>
              <a:prstDash val="solid"/>
              <a:miter lim="800000"/>
            </a:ln>
            <a:effectLst>
              <a:outerShdw blurRad="304800" rotWithShape="0">
                <a:srgbClr val="6B522E">
                  <a:alpha val="14000"/>
                </a:srgbClr>
              </a:outerShdw>
            </a:effectLst>
          </p:spPr>
          <p:txBody>
            <a:bodyPr rot="0" spcFirstLastPara="0" vertOverflow="overflow" horzOverflow="overflow" vert="horz" wrap="square" lIns="45719" tIns="45719" rIns="45719" bIns="4571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47" name="Рисунок 46">
              <a:extLst>
                <a:ext uri="{FF2B5EF4-FFF2-40B4-BE49-F238E27FC236}">
                  <a16:creationId xmlns="" xmlns:a16="http://schemas.microsoft.com/office/drawing/2014/main" id="{7C244124-CA53-46CB-B199-1E8F594B249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2878" y="3326677"/>
              <a:ext cx="526158" cy="369591"/>
            </a:xfrm>
            <a:prstGeom prst="rect">
              <a:avLst/>
            </a:prstGeom>
          </p:spPr>
        </p:pic>
      </p:grpSp>
      <p:grpSp>
        <p:nvGrpSpPr>
          <p:cNvPr id="6" name="Группа 5">
            <a:extLst>
              <a:ext uri="{FF2B5EF4-FFF2-40B4-BE49-F238E27FC236}">
                <a16:creationId xmlns="" xmlns:a16="http://schemas.microsoft.com/office/drawing/2014/main" id="{3C45A9D0-0498-48FA-9B5E-47FCDFE59812}"/>
              </a:ext>
            </a:extLst>
          </p:cNvPr>
          <p:cNvGrpSpPr/>
          <p:nvPr/>
        </p:nvGrpSpPr>
        <p:grpSpPr>
          <a:xfrm>
            <a:off x="2086614" y="1350545"/>
            <a:ext cx="1127763" cy="1127763"/>
            <a:chOff x="2640636" y="2437092"/>
            <a:chExt cx="1169874" cy="1169874"/>
          </a:xfrm>
        </p:grpSpPr>
        <p:sp>
          <p:nvSpPr>
            <p:cNvPr id="64" name="Овал 63">
              <a:extLst>
                <a:ext uri="{FF2B5EF4-FFF2-40B4-BE49-F238E27FC236}">
                  <a16:creationId xmlns="" xmlns:a16="http://schemas.microsoft.com/office/drawing/2014/main" id="{4D1C39C0-F6A7-4C86-BEB4-23D7494978B6}"/>
                </a:ext>
              </a:extLst>
            </p:cNvPr>
            <p:cNvSpPr/>
            <p:nvPr/>
          </p:nvSpPr>
          <p:spPr>
            <a:xfrm>
              <a:off x="2640636" y="2437092"/>
              <a:ext cx="1169874" cy="1169874"/>
            </a:xfrm>
            <a:prstGeom prst="ellipse">
              <a:avLst/>
            </a:prstGeom>
            <a:solidFill>
              <a:srgbClr val="FFFFFF"/>
            </a:solidFill>
            <a:ln w="6350" cap="flat">
              <a:solidFill>
                <a:srgbClr val="4C3B21">
                  <a:alpha val="17000"/>
                </a:srgbClr>
              </a:solidFill>
              <a:prstDash val="solid"/>
              <a:miter lim="800000"/>
            </a:ln>
            <a:effectLst>
              <a:outerShdw blurRad="304800" rotWithShape="0">
                <a:srgbClr val="6B522E">
                  <a:alpha val="14000"/>
                </a:srgbClr>
              </a:outerShdw>
            </a:effectLst>
          </p:spPr>
          <p:txBody>
            <a:bodyPr rot="0" spcFirstLastPara="0" vertOverflow="overflow" horzOverflow="overflow" vert="horz" wrap="square" lIns="45719" tIns="45719" rIns="45719" bIns="4571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29" name="Рисунок 28">
              <a:extLst>
                <a:ext uri="{FF2B5EF4-FFF2-40B4-BE49-F238E27FC236}">
                  <a16:creationId xmlns="" xmlns:a16="http://schemas.microsoft.com/office/drawing/2014/main" id="{B66496FC-1FBF-441A-9499-C630DB2F1AF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693181" y="2736470"/>
              <a:ext cx="1071471" cy="577945"/>
            </a:xfrm>
            <a:prstGeom prst="rect">
              <a:avLst/>
            </a:prstGeom>
          </p:spPr>
        </p:pic>
      </p:grpSp>
      <p:sp>
        <p:nvSpPr>
          <p:cNvPr id="102" name="Овал 101">
            <a:extLst>
              <a:ext uri="{FF2B5EF4-FFF2-40B4-BE49-F238E27FC236}">
                <a16:creationId xmlns="" xmlns:a16="http://schemas.microsoft.com/office/drawing/2014/main" id="{C9004C26-75CF-4326-A645-ACC8EA5614D7}"/>
              </a:ext>
            </a:extLst>
          </p:cNvPr>
          <p:cNvSpPr/>
          <p:nvPr/>
        </p:nvSpPr>
        <p:spPr>
          <a:xfrm>
            <a:off x="725722" y="2267545"/>
            <a:ext cx="2590454" cy="2590454"/>
          </a:xfrm>
          <a:prstGeom prst="ellipse">
            <a:avLst/>
          </a:prstGeom>
          <a:solidFill>
            <a:srgbClr val="FFFFFF"/>
          </a:solidFill>
          <a:ln w="6350" cap="flat">
            <a:solidFill>
              <a:srgbClr val="4C3B21">
                <a:alpha val="17000"/>
              </a:srgbClr>
            </a:solidFill>
            <a:prstDash val="solid"/>
            <a:miter lim="800000"/>
          </a:ln>
          <a:effectLst>
            <a:outerShdw blurRad="304800" rotWithShape="0">
              <a:srgbClr val="6B522E">
                <a:alpha val="28000"/>
              </a:srgbClr>
            </a:outerShdw>
          </a:effectLst>
        </p:spPr>
        <p:txBody>
          <a:bodyPr rot="0" spcFirstLastPara="0" vertOverflow="overflow" horzOverflow="overflow" vert="horz" wrap="square" lIns="45719" tIns="45719" rIns="4571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F3490EDE-C893-DC4A-9E7F-C68C685C7B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Информационная поддержка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AA78044F-D0DB-4B48-919F-F3F0B0E402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9439AD-A166-441A-9978-3BDD957F123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C2A17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C2A17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6" name="Рисунок 25">
            <a:extLst>
              <a:ext uri="{FF2B5EF4-FFF2-40B4-BE49-F238E27FC236}">
                <a16:creationId xmlns="" xmlns:a16="http://schemas.microsoft.com/office/drawing/2014/main" id="{83B53B5D-08AB-47AE-BFB7-24D43EB2148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0788" t="-8335" r="34383" b="-8335"/>
          <a:stretch/>
        </p:blipFill>
        <p:spPr>
          <a:xfrm>
            <a:off x="7545754" y="3698399"/>
            <a:ext cx="977884" cy="999390"/>
          </a:xfrm>
          <a:prstGeom prst="ellipse">
            <a:avLst/>
          </a:prstGeom>
          <a:solidFill>
            <a:srgbClr val="FFFFFF"/>
          </a:solidFill>
          <a:ln w="6350" cap="flat">
            <a:solidFill>
              <a:srgbClr val="4C3B21">
                <a:alpha val="17000"/>
              </a:srgbClr>
            </a:solidFill>
            <a:prstDash val="solid"/>
            <a:miter lim="800000"/>
          </a:ln>
          <a:effectLst>
            <a:outerShdw blurRad="304800" rotWithShape="0">
              <a:srgbClr val="6B522E">
                <a:alpha val="14000"/>
              </a:srgbClr>
            </a:outerShdw>
          </a:effectLst>
        </p:spPr>
      </p:pic>
      <p:pic>
        <p:nvPicPr>
          <p:cNvPr id="27" name="Рисунок 26">
            <a:extLst>
              <a:ext uri="{FF2B5EF4-FFF2-40B4-BE49-F238E27FC236}">
                <a16:creationId xmlns="" xmlns:a16="http://schemas.microsoft.com/office/drawing/2014/main" id="{56DB7779-6A4D-49E4-9D70-775BCB06CB0B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409" r="-20409"/>
          <a:stretch/>
        </p:blipFill>
        <p:spPr>
          <a:xfrm>
            <a:off x="10582923" y="1299746"/>
            <a:ext cx="1101669" cy="1059778"/>
          </a:xfrm>
          <a:prstGeom prst="ellipse">
            <a:avLst/>
          </a:prstGeom>
          <a:solidFill>
            <a:srgbClr val="FFFFFF"/>
          </a:solidFill>
          <a:ln w="6350" cap="flat">
            <a:solidFill>
              <a:srgbClr val="4C3B21">
                <a:alpha val="17000"/>
              </a:srgbClr>
            </a:solidFill>
            <a:prstDash val="solid"/>
            <a:miter lim="800000"/>
          </a:ln>
          <a:effectLst>
            <a:outerShdw blurRad="304800" rotWithShape="0">
              <a:srgbClr val="6B522E">
                <a:alpha val="14000"/>
              </a:srgbClr>
            </a:outerShdw>
          </a:effectLst>
        </p:spPr>
      </p:pic>
      <p:sp>
        <p:nvSpPr>
          <p:cNvPr id="34" name="Прямоугольник 33">
            <a:extLst>
              <a:ext uri="{FF2B5EF4-FFF2-40B4-BE49-F238E27FC236}">
                <a16:creationId xmlns="" xmlns:a16="http://schemas.microsoft.com/office/drawing/2014/main" id="{82C42370-169A-4B92-8FAF-B1FEDE107140}"/>
              </a:ext>
            </a:extLst>
          </p:cNvPr>
          <p:cNvSpPr/>
          <p:nvPr/>
        </p:nvSpPr>
        <p:spPr>
          <a:xfrm>
            <a:off x="7842117" y="5643435"/>
            <a:ext cx="342459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1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Ежедневные публикации </a:t>
            </a:r>
            <a:br>
              <a:rPr kumimoji="0" lang="ru-RU" sz="1600" b="0" i="1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ru-RU" sz="1600" b="0" i="1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о победителях на страницах фонда </a:t>
            </a:r>
            <a:br>
              <a:rPr kumimoji="0" lang="ru-RU" sz="1600" b="0" i="1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ru-RU" sz="1600" b="0" i="1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в социальных сетях</a:t>
            </a:r>
          </a:p>
        </p:txBody>
      </p:sp>
      <p:pic>
        <p:nvPicPr>
          <p:cNvPr id="36" name="Рисунок 35">
            <a:extLst>
              <a:ext uri="{FF2B5EF4-FFF2-40B4-BE49-F238E27FC236}">
                <a16:creationId xmlns="" xmlns:a16="http://schemas.microsoft.com/office/drawing/2014/main" id="{840DA873-CFC3-4FE0-843B-D1364FCCD607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021" t="12836" r="-4021" b="12836"/>
          <a:stretch/>
        </p:blipFill>
        <p:spPr>
          <a:xfrm>
            <a:off x="10736753" y="3938781"/>
            <a:ext cx="847223" cy="798029"/>
          </a:xfrm>
          <a:prstGeom prst="ellipse">
            <a:avLst/>
          </a:prstGeom>
          <a:solidFill>
            <a:srgbClr val="FFFFFF"/>
          </a:solidFill>
          <a:ln w="6350" cap="flat">
            <a:solidFill>
              <a:srgbClr val="4C3B21">
                <a:alpha val="17000"/>
              </a:srgbClr>
            </a:solidFill>
            <a:prstDash val="solid"/>
            <a:miter lim="800000"/>
          </a:ln>
          <a:effectLst>
            <a:outerShdw blurRad="304800" rotWithShape="0">
              <a:srgbClr val="6B522E">
                <a:alpha val="14000"/>
              </a:srgbClr>
            </a:outerShdw>
          </a:effectLst>
        </p:spPr>
      </p:pic>
      <p:pic>
        <p:nvPicPr>
          <p:cNvPr id="38" name="Рисунок 37">
            <a:extLst>
              <a:ext uri="{FF2B5EF4-FFF2-40B4-BE49-F238E27FC236}">
                <a16:creationId xmlns="" xmlns:a16="http://schemas.microsoft.com/office/drawing/2014/main" id="{0EB130C1-81EA-43F5-BE6F-A9FD7491F58C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5125" t="1323" r="-15125" b="18015"/>
          <a:stretch/>
        </p:blipFill>
        <p:spPr>
          <a:xfrm>
            <a:off x="7551198" y="1173554"/>
            <a:ext cx="1520746" cy="1460230"/>
          </a:xfrm>
          <a:prstGeom prst="ellipse">
            <a:avLst/>
          </a:prstGeom>
          <a:solidFill>
            <a:srgbClr val="FFFFFF"/>
          </a:solidFill>
          <a:ln w="6350" cap="flat">
            <a:solidFill>
              <a:srgbClr val="4C3B21">
                <a:alpha val="17000"/>
              </a:srgbClr>
            </a:solidFill>
            <a:prstDash val="solid"/>
            <a:miter lim="800000"/>
          </a:ln>
          <a:effectLst>
            <a:outerShdw blurRad="304800" rotWithShape="0">
              <a:srgbClr val="6B522E">
                <a:alpha val="14000"/>
              </a:srgbClr>
            </a:outerShdw>
          </a:effectLst>
        </p:spPr>
      </p:pic>
      <p:grpSp>
        <p:nvGrpSpPr>
          <p:cNvPr id="53" name="Группа 52">
            <a:extLst>
              <a:ext uri="{FF2B5EF4-FFF2-40B4-BE49-F238E27FC236}">
                <a16:creationId xmlns="" xmlns:a16="http://schemas.microsoft.com/office/drawing/2014/main" id="{C00BBCFE-4397-443A-A688-A8A40D624D6C}"/>
              </a:ext>
            </a:extLst>
          </p:cNvPr>
          <p:cNvGrpSpPr/>
          <p:nvPr/>
        </p:nvGrpSpPr>
        <p:grpSpPr>
          <a:xfrm>
            <a:off x="1093502" y="3287404"/>
            <a:ext cx="2096173" cy="1400308"/>
            <a:chOff x="8338058" y="3744227"/>
            <a:chExt cx="2096173" cy="1400308"/>
          </a:xfrm>
        </p:grpSpPr>
        <p:sp>
          <p:nvSpPr>
            <p:cNvPr id="56" name="Объект 3">
              <a:extLst>
                <a:ext uri="{FF2B5EF4-FFF2-40B4-BE49-F238E27FC236}">
                  <a16:creationId xmlns="" xmlns:a16="http://schemas.microsoft.com/office/drawing/2014/main" id="{A7F39BA0-A93C-442B-B0BC-B94305B9116A}"/>
                </a:ext>
              </a:extLst>
            </p:cNvPr>
            <p:cNvSpPr txBox="1">
              <a:spLocks/>
            </p:cNvSpPr>
            <p:nvPr/>
          </p:nvSpPr>
          <p:spPr>
            <a:xfrm>
              <a:off x="8338058" y="4254654"/>
              <a:ext cx="1906010" cy="889881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0" marR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2800" b="1" kern="1200">
                  <a:solidFill>
                    <a:srgbClr val="3C3837"/>
                  </a:solidFill>
                  <a:latin typeface="+mn-lt"/>
                  <a:ea typeface="+mn-ea"/>
                  <a:cs typeface="+mn-cs"/>
                </a:defRPr>
              </a:lvl1pPr>
              <a:lvl2pPr marL="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800" kern="1200">
                  <a:solidFill>
                    <a:srgbClr val="3C3837"/>
                  </a:solidFill>
                  <a:latin typeface="+mn-lt"/>
                  <a:ea typeface="+mn-ea"/>
                  <a:cs typeface="+mn-cs"/>
                </a:defRPr>
              </a:lvl2pPr>
              <a:lvl3pPr marL="9144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3C3837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сюжетов </a:t>
              </a:r>
              <a:b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3C3837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</a:b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3C3837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на телевидении</a:t>
              </a:r>
            </a:p>
          </p:txBody>
        </p:sp>
        <p:sp>
          <p:nvSpPr>
            <p:cNvPr id="57" name="Полилиния: фигура 56">
              <a:extLst>
                <a:ext uri="{FF2B5EF4-FFF2-40B4-BE49-F238E27FC236}">
                  <a16:creationId xmlns="" xmlns:a16="http://schemas.microsoft.com/office/drawing/2014/main" id="{44248266-A748-4E57-B7C6-E8253288951E}"/>
                </a:ext>
              </a:extLst>
            </p:cNvPr>
            <p:cNvSpPr/>
            <p:nvPr/>
          </p:nvSpPr>
          <p:spPr>
            <a:xfrm>
              <a:off x="8701708" y="3744227"/>
              <a:ext cx="458862" cy="548025"/>
            </a:xfrm>
            <a:custGeom>
              <a:avLst/>
              <a:gdLst>
                <a:gd name="connsiteX0" fmla="*/ 517080 w 650784"/>
                <a:gd name="connsiteY0" fmla="*/ 34081 h 777240"/>
                <a:gd name="connsiteX1" fmla="*/ 590178 w 650784"/>
                <a:gd name="connsiteY1" fmla="*/ 16501 h 777240"/>
                <a:gd name="connsiteX2" fmla="*/ 649396 w 650784"/>
                <a:gd name="connsiteY2" fmla="*/ 2313 h 777240"/>
                <a:gd name="connsiteX3" fmla="*/ 569822 w 650784"/>
                <a:gd name="connsiteY3" fmla="*/ 92066 h 777240"/>
                <a:gd name="connsiteX4" fmla="*/ 432880 w 650784"/>
                <a:gd name="connsiteY4" fmla="*/ 601590 h 777240"/>
                <a:gd name="connsiteX5" fmla="*/ 353305 w 650784"/>
                <a:gd name="connsiteY5" fmla="*/ 691651 h 777240"/>
                <a:gd name="connsiteX6" fmla="*/ 123834 w 650784"/>
                <a:gd name="connsiteY6" fmla="*/ 746860 h 777240"/>
                <a:gd name="connsiteX7" fmla="*/ 61223 w 650784"/>
                <a:gd name="connsiteY7" fmla="*/ 761973 h 777240"/>
                <a:gd name="connsiteX8" fmla="*/ 2313 w 650784"/>
                <a:gd name="connsiteY8" fmla="*/ 776161 h 777240"/>
                <a:gd name="connsiteX9" fmla="*/ 81888 w 650784"/>
                <a:gd name="connsiteY9" fmla="*/ 686408 h 777240"/>
                <a:gd name="connsiteX10" fmla="*/ 218830 w 650784"/>
                <a:gd name="connsiteY10" fmla="*/ 176884 h 777240"/>
                <a:gd name="connsiteX11" fmla="*/ 298405 w 650784"/>
                <a:gd name="connsiteY11" fmla="*/ 86823 h 777240"/>
                <a:gd name="connsiteX12" fmla="*/ 517080 w 650784"/>
                <a:gd name="connsiteY12" fmla="*/ 34081 h 777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0784" h="777240">
                  <a:moveTo>
                    <a:pt x="517080" y="34081"/>
                  </a:moveTo>
                  <a:lnTo>
                    <a:pt x="590178" y="16501"/>
                  </a:lnTo>
                  <a:lnTo>
                    <a:pt x="649396" y="2313"/>
                  </a:lnTo>
                  <a:cubicBezTo>
                    <a:pt x="613927" y="10949"/>
                    <a:pt x="582159" y="46727"/>
                    <a:pt x="569822" y="92066"/>
                  </a:cubicBezTo>
                  <a:lnTo>
                    <a:pt x="432880" y="601590"/>
                  </a:lnTo>
                  <a:cubicBezTo>
                    <a:pt x="420542" y="647238"/>
                    <a:pt x="388774" y="683015"/>
                    <a:pt x="353305" y="691651"/>
                  </a:cubicBezTo>
                  <a:lnTo>
                    <a:pt x="123834" y="746860"/>
                  </a:lnTo>
                  <a:lnTo>
                    <a:pt x="61223" y="761973"/>
                  </a:lnTo>
                  <a:lnTo>
                    <a:pt x="2313" y="776161"/>
                  </a:lnTo>
                  <a:cubicBezTo>
                    <a:pt x="37783" y="767525"/>
                    <a:pt x="69551" y="731747"/>
                    <a:pt x="81888" y="686408"/>
                  </a:cubicBezTo>
                  <a:lnTo>
                    <a:pt x="218830" y="176884"/>
                  </a:lnTo>
                  <a:cubicBezTo>
                    <a:pt x="231167" y="131236"/>
                    <a:pt x="262935" y="95459"/>
                    <a:pt x="298405" y="86823"/>
                  </a:cubicBezTo>
                  <a:lnTo>
                    <a:pt x="517080" y="34081"/>
                  </a:lnTo>
                  <a:close/>
                </a:path>
              </a:pathLst>
            </a:custGeom>
            <a:gradFill>
              <a:gsLst>
                <a:gs pos="0">
                  <a:srgbClr val="FFE682"/>
                </a:gs>
                <a:gs pos="100000">
                  <a:srgbClr val="FFC61B"/>
                </a:gs>
              </a:gsLst>
              <a:lin ang="16800000" scaled="0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Объект 3">
              <a:extLst>
                <a:ext uri="{FF2B5EF4-FFF2-40B4-BE49-F238E27FC236}">
                  <a16:creationId xmlns="" xmlns:a16="http://schemas.microsoft.com/office/drawing/2014/main" id="{C7663E59-384E-4F35-BF51-840281E5355E}"/>
                </a:ext>
              </a:extLst>
            </p:cNvPr>
            <p:cNvSpPr txBox="1">
              <a:spLocks/>
            </p:cNvSpPr>
            <p:nvPr/>
          </p:nvSpPr>
          <p:spPr>
            <a:xfrm>
              <a:off x="8776728" y="3752501"/>
              <a:ext cx="1657503" cy="958985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0" marR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2800" b="1" kern="1200">
                  <a:solidFill>
                    <a:srgbClr val="3C3837"/>
                  </a:solidFill>
                  <a:latin typeface="+mn-lt"/>
                  <a:ea typeface="+mn-ea"/>
                  <a:cs typeface="+mn-cs"/>
                </a:defRPr>
              </a:lvl1pPr>
              <a:lvl2pPr marL="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800" kern="1200">
                  <a:solidFill>
                    <a:srgbClr val="3C3837"/>
                  </a:solidFill>
                  <a:latin typeface="+mn-lt"/>
                  <a:ea typeface="+mn-ea"/>
                  <a:cs typeface="+mn-cs"/>
                </a:defRPr>
              </a:lvl2pPr>
              <a:lvl3pPr marL="9144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ru-RU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3C3837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 </a:t>
              </a:r>
              <a:r>
                <a:rPr lang="ru-RU" dirty="0">
                  <a:latin typeface="Calibri" panose="020F0502020204030204"/>
                </a:rPr>
                <a:t>430</a:t>
              </a:r>
              <a:endPara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="" xmlns:a16="http://schemas.microsoft.com/office/drawing/2014/main" id="{1332DFD6-DD3D-44CE-9D88-D73101D26B28}"/>
              </a:ext>
            </a:extLst>
          </p:cNvPr>
          <p:cNvGrpSpPr/>
          <p:nvPr/>
        </p:nvGrpSpPr>
        <p:grpSpPr>
          <a:xfrm>
            <a:off x="4484442" y="1175940"/>
            <a:ext cx="1112641" cy="1112641"/>
            <a:chOff x="4418181" y="935938"/>
            <a:chExt cx="1122648" cy="1122648"/>
          </a:xfrm>
        </p:grpSpPr>
        <p:sp>
          <p:nvSpPr>
            <p:cNvPr id="75" name="Овал 74">
              <a:extLst>
                <a:ext uri="{FF2B5EF4-FFF2-40B4-BE49-F238E27FC236}">
                  <a16:creationId xmlns="" xmlns:a16="http://schemas.microsoft.com/office/drawing/2014/main" id="{558D6C0F-F1CA-4A35-A86E-3DEFEEAF5E09}"/>
                </a:ext>
              </a:extLst>
            </p:cNvPr>
            <p:cNvSpPr/>
            <p:nvPr/>
          </p:nvSpPr>
          <p:spPr>
            <a:xfrm>
              <a:off x="4418181" y="935938"/>
              <a:ext cx="1122648" cy="1122648"/>
            </a:xfrm>
            <a:prstGeom prst="ellipse">
              <a:avLst/>
            </a:prstGeom>
            <a:solidFill>
              <a:srgbClr val="FFFFFF"/>
            </a:solidFill>
            <a:ln w="6350" cap="flat">
              <a:solidFill>
                <a:srgbClr val="4C3B21">
                  <a:alpha val="17000"/>
                </a:srgbClr>
              </a:solidFill>
              <a:prstDash val="solid"/>
              <a:miter lim="800000"/>
            </a:ln>
            <a:effectLst>
              <a:outerShdw blurRad="304800" rotWithShape="0">
                <a:srgbClr val="6B522E">
                  <a:alpha val="14000"/>
                </a:srgbClr>
              </a:outerShdw>
            </a:effectLst>
          </p:spPr>
          <p:txBody>
            <a:bodyPr rot="0" spcFirstLastPara="0" vertOverflow="overflow" horzOverflow="overflow" vert="horz" wrap="square" lIns="45719" tIns="45719" rIns="45719" bIns="4571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028" name="Picture 4">
              <a:extLst>
                <a:ext uri="{FF2B5EF4-FFF2-40B4-BE49-F238E27FC236}">
                  <a16:creationId xmlns="" xmlns:a16="http://schemas.microsoft.com/office/drawing/2014/main" id="{E860575E-1704-4E41-8DE7-136F12E4EED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40535" y="1154523"/>
              <a:ext cx="707250" cy="7072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9" name="Группа 38">
            <a:extLst>
              <a:ext uri="{FF2B5EF4-FFF2-40B4-BE49-F238E27FC236}">
                <a16:creationId xmlns="" xmlns:a16="http://schemas.microsoft.com/office/drawing/2014/main" id="{2E3456DA-B1FE-402D-8B16-205CCEF16700}"/>
              </a:ext>
            </a:extLst>
          </p:cNvPr>
          <p:cNvGrpSpPr/>
          <p:nvPr/>
        </p:nvGrpSpPr>
        <p:grpSpPr>
          <a:xfrm>
            <a:off x="5642876" y="1350546"/>
            <a:ext cx="1430524" cy="1140030"/>
            <a:chOff x="5333706" y="1733798"/>
            <a:chExt cx="1430524" cy="1140030"/>
          </a:xfrm>
        </p:grpSpPr>
        <p:sp>
          <p:nvSpPr>
            <p:cNvPr id="77" name="Овал 76">
              <a:extLst>
                <a:ext uri="{FF2B5EF4-FFF2-40B4-BE49-F238E27FC236}">
                  <a16:creationId xmlns="" xmlns:a16="http://schemas.microsoft.com/office/drawing/2014/main" id="{4ACAB149-A44B-4F30-9172-C8BCBA9ED22F}"/>
                </a:ext>
              </a:extLst>
            </p:cNvPr>
            <p:cNvSpPr/>
            <p:nvPr/>
          </p:nvSpPr>
          <p:spPr>
            <a:xfrm>
              <a:off x="5516763" y="1733798"/>
              <a:ext cx="1140030" cy="1140030"/>
            </a:xfrm>
            <a:prstGeom prst="ellipse">
              <a:avLst/>
            </a:prstGeom>
            <a:solidFill>
              <a:srgbClr val="FFFFFF"/>
            </a:solidFill>
            <a:ln w="6350" cap="flat">
              <a:solidFill>
                <a:srgbClr val="4C3B21">
                  <a:alpha val="17000"/>
                </a:srgbClr>
              </a:solidFill>
              <a:prstDash val="solid"/>
              <a:miter lim="800000"/>
            </a:ln>
            <a:effectLst>
              <a:outerShdw blurRad="304800" rotWithShape="0">
                <a:srgbClr val="6B522E">
                  <a:alpha val="14000"/>
                </a:srgbClr>
              </a:outerShdw>
            </a:effectLst>
          </p:spPr>
          <p:txBody>
            <a:bodyPr rot="0" spcFirstLastPara="0" vertOverflow="overflow" horzOverflow="overflow" vert="horz" wrap="square" lIns="45719" tIns="45719" rIns="45719" bIns="4571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026" name="Picture 2">
              <a:extLst>
                <a:ext uri="{FF2B5EF4-FFF2-40B4-BE49-F238E27FC236}">
                  <a16:creationId xmlns="" xmlns:a16="http://schemas.microsoft.com/office/drawing/2014/main" id="{E90C1FA7-C1C3-43A0-A026-4BC02E6DF45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hq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33706" y="1833061"/>
              <a:ext cx="1430524" cy="9536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4" name="Группа 73">
            <a:extLst>
              <a:ext uri="{FF2B5EF4-FFF2-40B4-BE49-F238E27FC236}">
                <a16:creationId xmlns="" xmlns:a16="http://schemas.microsoft.com/office/drawing/2014/main" id="{EDC2F939-4D23-4094-BA77-CBA3FC36E4C0}"/>
              </a:ext>
            </a:extLst>
          </p:cNvPr>
          <p:cNvGrpSpPr/>
          <p:nvPr/>
        </p:nvGrpSpPr>
        <p:grpSpPr>
          <a:xfrm>
            <a:off x="5150177" y="4762782"/>
            <a:ext cx="1489344" cy="1489344"/>
            <a:chOff x="4361425" y="4344270"/>
            <a:chExt cx="1621055" cy="1621055"/>
          </a:xfrm>
        </p:grpSpPr>
        <p:sp>
          <p:nvSpPr>
            <p:cNvPr id="79" name="Овал 78">
              <a:extLst>
                <a:ext uri="{FF2B5EF4-FFF2-40B4-BE49-F238E27FC236}">
                  <a16:creationId xmlns="" xmlns:a16="http://schemas.microsoft.com/office/drawing/2014/main" id="{1EF68F1E-D451-4F1E-922A-89FB8E04E3CB}"/>
                </a:ext>
              </a:extLst>
            </p:cNvPr>
            <p:cNvSpPr/>
            <p:nvPr/>
          </p:nvSpPr>
          <p:spPr>
            <a:xfrm>
              <a:off x="4361425" y="4344270"/>
              <a:ext cx="1621055" cy="1621055"/>
            </a:xfrm>
            <a:prstGeom prst="ellipse">
              <a:avLst/>
            </a:prstGeom>
            <a:solidFill>
              <a:srgbClr val="FFFFFF"/>
            </a:solidFill>
            <a:ln w="6350" cap="flat">
              <a:solidFill>
                <a:srgbClr val="4C3B21">
                  <a:alpha val="17000"/>
                </a:srgbClr>
              </a:solidFill>
              <a:prstDash val="solid"/>
              <a:miter lim="800000"/>
            </a:ln>
            <a:effectLst>
              <a:outerShdw blurRad="304800" rotWithShape="0">
                <a:srgbClr val="6B522E">
                  <a:alpha val="14000"/>
                </a:srgbClr>
              </a:outerShdw>
            </a:effectLst>
          </p:spPr>
          <p:txBody>
            <a:bodyPr rot="0" spcFirstLastPara="0" vertOverflow="overflow" horzOverflow="overflow" vert="horz" wrap="square" lIns="45719" tIns="45719" rIns="45719" bIns="4571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030" name="Picture 6">
              <a:extLst>
                <a:ext uri="{FF2B5EF4-FFF2-40B4-BE49-F238E27FC236}">
                  <a16:creationId xmlns="" xmlns:a16="http://schemas.microsoft.com/office/drawing/2014/main" id="{7C656992-AF10-4B73-B4AF-70051D837B0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767" t="36972" r="41925" b="36882"/>
            <a:stretch/>
          </p:blipFill>
          <p:spPr bwMode="auto">
            <a:xfrm>
              <a:off x="4487459" y="4922783"/>
              <a:ext cx="1359039" cy="4871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0" name="Овал 59">
            <a:extLst>
              <a:ext uri="{FF2B5EF4-FFF2-40B4-BE49-F238E27FC236}">
                <a16:creationId xmlns="" xmlns:a16="http://schemas.microsoft.com/office/drawing/2014/main" id="{5CC9CAFF-B72C-4ED5-80D6-5D5EDE1BF1B9}"/>
              </a:ext>
            </a:extLst>
          </p:cNvPr>
          <p:cNvSpPr/>
          <p:nvPr/>
        </p:nvSpPr>
        <p:spPr>
          <a:xfrm>
            <a:off x="4272539" y="2267545"/>
            <a:ext cx="2590454" cy="2590454"/>
          </a:xfrm>
          <a:prstGeom prst="ellipse">
            <a:avLst/>
          </a:prstGeom>
          <a:solidFill>
            <a:srgbClr val="FFFFFF"/>
          </a:solidFill>
          <a:ln w="6350" cap="flat">
            <a:solidFill>
              <a:srgbClr val="4C3B21">
                <a:alpha val="17000"/>
              </a:srgbClr>
            </a:solidFill>
            <a:prstDash val="solid"/>
            <a:miter lim="800000"/>
          </a:ln>
          <a:effectLst>
            <a:outerShdw blurRad="304800" rotWithShape="0">
              <a:srgbClr val="6B522E">
                <a:alpha val="28000"/>
              </a:srgbClr>
            </a:outerShdw>
          </a:effectLst>
        </p:spPr>
        <p:txBody>
          <a:bodyPr rot="0" spcFirstLastPara="0" vertOverflow="overflow" horzOverflow="overflow" vert="horz" wrap="square" lIns="45719" tIns="45719" rIns="4571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2" name="Группа 11">
            <a:extLst>
              <a:ext uri="{FF2B5EF4-FFF2-40B4-BE49-F238E27FC236}">
                <a16:creationId xmlns="" xmlns:a16="http://schemas.microsoft.com/office/drawing/2014/main" id="{E597A872-83F6-442C-8C26-C4F4DEE67B15}"/>
              </a:ext>
            </a:extLst>
          </p:cNvPr>
          <p:cNvGrpSpPr/>
          <p:nvPr/>
        </p:nvGrpSpPr>
        <p:grpSpPr>
          <a:xfrm>
            <a:off x="4045399" y="3220576"/>
            <a:ext cx="3112540" cy="1402100"/>
            <a:chOff x="7875192" y="3744227"/>
            <a:chExt cx="3112540" cy="1402100"/>
          </a:xfrm>
        </p:grpSpPr>
        <p:sp>
          <p:nvSpPr>
            <p:cNvPr id="13" name="Объект 3">
              <a:extLst>
                <a:ext uri="{FF2B5EF4-FFF2-40B4-BE49-F238E27FC236}">
                  <a16:creationId xmlns="" xmlns:a16="http://schemas.microsoft.com/office/drawing/2014/main" id="{48BE2DCD-AD9D-43FE-BA11-A97CD711B6AE}"/>
                </a:ext>
              </a:extLst>
            </p:cNvPr>
            <p:cNvSpPr txBox="1">
              <a:spLocks/>
            </p:cNvSpPr>
            <p:nvPr/>
          </p:nvSpPr>
          <p:spPr>
            <a:xfrm>
              <a:off x="7875192" y="4256446"/>
              <a:ext cx="3112540" cy="889881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0" marR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2800" b="1" kern="1200">
                  <a:solidFill>
                    <a:srgbClr val="3C3837"/>
                  </a:solidFill>
                  <a:latin typeface="+mn-lt"/>
                  <a:ea typeface="+mn-ea"/>
                  <a:cs typeface="+mn-cs"/>
                </a:defRPr>
              </a:lvl1pPr>
              <a:lvl2pPr marL="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800" kern="1200">
                  <a:solidFill>
                    <a:srgbClr val="3C3837"/>
                  </a:solidFill>
                  <a:latin typeface="+mn-lt"/>
                  <a:ea typeface="+mn-ea"/>
                  <a:cs typeface="+mn-cs"/>
                </a:defRPr>
              </a:lvl2pPr>
              <a:lvl3pPr marL="9144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3C3837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публикаций</a:t>
              </a:r>
            </a:p>
          </p:txBody>
        </p:sp>
        <p:sp>
          <p:nvSpPr>
            <p:cNvPr id="14" name="Полилиния: фигура 13">
              <a:extLst>
                <a:ext uri="{FF2B5EF4-FFF2-40B4-BE49-F238E27FC236}">
                  <a16:creationId xmlns="" xmlns:a16="http://schemas.microsoft.com/office/drawing/2014/main" id="{16711FB8-2047-4610-AD0E-871AE45E8575}"/>
                </a:ext>
              </a:extLst>
            </p:cNvPr>
            <p:cNvSpPr/>
            <p:nvPr/>
          </p:nvSpPr>
          <p:spPr>
            <a:xfrm>
              <a:off x="8701708" y="3744227"/>
              <a:ext cx="458862" cy="548025"/>
            </a:xfrm>
            <a:custGeom>
              <a:avLst/>
              <a:gdLst>
                <a:gd name="connsiteX0" fmla="*/ 517080 w 650784"/>
                <a:gd name="connsiteY0" fmla="*/ 34081 h 777240"/>
                <a:gd name="connsiteX1" fmla="*/ 590178 w 650784"/>
                <a:gd name="connsiteY1" fmla="*/ 16501 h 777240"/>
                <a:gd name="connsiteX2" fmla="*/ 649396 w 650784"/>
                <a:gd name="connsiteY2" fmla="*/ 2313 h 777240"/>
                <a:gd name="connsiteX3" fmla="*/ 569822 w 650784"/>
                <a:gd name="connsiteY3" fmla="*/ 92066 h 777240"/>
                <a:gd name="connsiteX4" fmla="*/ 432880 w 650784"/>
                <a:gd name="connsiteY4" fmla="*/ 601590 h 777240"/>
                <a:gd name="connsiteX5" fmla="*/ 353305 w 650784"/>
                <a:gd name="connsiteY5" fmla="*/ 691651 h 777240"/>
                <a:gd name="connsiteX6" fmla="*/ 123834 w 650784"/>
                <a:gd name="connsiteY6" fmla="*/ 746860 h 777240"/>
                <a:gd name="connsiteX7" fmla="*/ 61223 w 650784"/>
                <a:gd name="connsiteY7" fmla="*/ 761973 h 777240"/>
                <a:gd name="connsiteX8" fmla="*/ 2313 w 650784"/>
                <a:gd name="connsiteY8" fmla="*/ 776161 h 777240"/>
                <a:gd name="connsiteX9" fmla="*/ 81888 w 650784"/>
                <a:gd name="connsiteY9" fmla="*/ 686408 h 777240"/>
                <a:gd name="connsiteX10" fmla="*/ 218830 w 650784"/>
                <a:gd name="connsiteY10" fmla="*/ 176884 h 777240"/>
                <a:gd name="connsiteX11" fmla="*/ 298405 w 650784"/>
                <a:gd name="connsiteY11" fmla="*/ 86823 h 777240"/>
                <a:gd name="connsiteX12" fmla="*/ 517080 w 650784"/>
                <a:gd name="connsiteY12" fmla="*/ 34081 h 777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0784" h="777240">
                  <a:moveTo>
                    <a:pt x="517080" y="34081"/>
                  </a:moveTo>
                  <a:lnTo>
                    <a:pt x="590178" y="16501"/>
                  </a:lnTo>
                  <a:lnTo>
                    <a:pt x="649396" y="2313"/>
                  </a:lnTo>
                  <a:cubicBezTo>
                    <a:pt x="613927" y="10949"/>
                    <a:pt x="582159" y="46727"/>
                    <a:pt x="569822" y="92066"/>
                  </a:cubicBezTo>
                  <a:lnTo>
                    <a:pt x="432880" y="601590"/>
                  </a:lnTo>
                  <a:cubicBezTo>
                    <a:pt x="420542" y="647238"/>
                    <a:pt x="388774" y="683015"/>
                    <a:pt x="353305" y="691651"/>
                  </a:cubicBezTo>
                  <a:lnTo>
                    <a:pt x="123834" y="746860"/>
                  </a:lnTo>
                  <a:lnTo>
                    <a:pt x="61223" y="761973"/>
                  </a:lnTo>
                  <a:lnTo>
                    <a:pt x="2313" y="776161"/>
                  </a:lnTo>
                  <a:cubicBezTo>
                    <a:pt x="37783" y="767525"/>
                    <a:pt x="69551" y="731747"/>
                    <a:pt x="81888" y="686408"/>
                  </a:cubicBezTo>
                  <a:lnTo>
                    <a:pt x="218830" y="176884"/>
                  </a:lnTo>
                  <a:cubicBezTo>
                    <a:pt x="231167" y="131236"/>
                    <a:pt x="262935" y="95459"/>
                    <a:pt x="298405" y="86823"/>
                  </a:cubicBezTo>
                  <a:lnTo>
                    <a:pt x="517080" y="34081"/>
                  </a:lnTo>
                  <a:close/>
                </a:path>
              </a:pathLst>
            </a:custGeom>
            <a:gradFill>
              <a:gsLst>
                <a:gs pos="0">
                  <a:srgbClr val="FFE682"/>
                </a:gs>
                <a:gs pos="100000">
                  <a:srgbClr val="FFC61B"/>
                </a:gs>
              </a:gsLst>
              <a:lin ang="16800000" scaled="0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Объект 3">
              <a:extLst>
                <a:ext uri="{FF2B5EF4-FFF2-40B4-BE49-F238E27FC236}">
                  <a16:creationId xmlns="" xmlns:a16="http://schemas.microsoft.com/office/drawing/2014/main" id="{4AC0E815-874F-4431-AAD7-9BADF6C9423A}"/>
                </a:ext>
              </a:extLst>
            </p:cNvPr>
            <p:cNvSpPr txBox="1">
              <a:spLocks/>
            </p:cNvSpPr>
            <p:nvPr/>
          </p:nvSpPr>
          <p:spPr>
            <a:xfrm>
              <a:off x="8776728" y="3752501"/>
              <a:ext cx="1657503" cy="958985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0" marR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2800" b="1" kern="1200">
                  <a:solidFill>
                    <a:srgbClr val="3C3837"/>
                  </a:solidFill>
                  <a:latin typeface="+mn-lt"/>
                  <a:ea typeface="+mn-ea"/>
                  <a:cs typeface="+mn-cs"/>
                </a:defRPr>
              </a:lvl1pPr>
              <a:lvl2pPr marL="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800" kern="1200">
                  <a:solidFill>
                    <a:srgbClr val="3C3837"/>
                  </a:solidFill>
                  <a:latin typeface="+mn-lt"/>
                  <a:ea typeface="+mn-ea"/>
                  <a:cs typeface="+mn-cs"/>
                </a:defRPr>
              </a:lvl2pPr>
              <a:lvl3pPr marL="9144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ru-RU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3C3837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67 725</a:t>
              </a:r>
            </a:p>
          </p:txBody>
        </p:sp>
      </p:grpSp>
      <p:sp>
        <p:nvSpPr>
          <p:cNvPr id="81" name="Овал 80">
            <a:extLst>
              <a:ext uri="{FF2B5EF4-FFF2-40B4-BE49-F238E27FC236}">
                <a16:creationId xmlns="" xmlns:a16="http://schemas.microsoft.com/office/drawing/2014/main" id="{43FB35EB-F8FE-4081-8913-52CFB927436C}"/>
              </a:ext>
            </a:extLst>
          </p:cNvPr>
          <p:cNvSpPr/>
          <p:nvPr/>
        </p:nvSpPr>
        <p:spPr>
          <a:xfrm>
            <a:off x="5822061" y="1073445"/>
            <a:ext cx="246332" cy="246332"/>
          </a:xfrm>
          <a:prstGeom prst="ellipse">
            <a:avLst/>
          </a:prstGeom>
          <a:solidFill>
            <a:srgbClr val="FFFFFF"/>
          </a:solidFill>
          <a:ln w="6350" cap="flat">
            <a:solidFill>
              <a:srgbClr val="4C3B21">
                <a:alpha val="17000"/>
              </a:srgbClr>
            </a:solidFill>
            <a:prstDash val="solid"/>
            <a:miter lim="800000"/>
          </a:ln>
          <a:effectLst>
            <a:outerShdw blurRad="304800" rotWithShape="0">
              <a:srgbClr val="6B522E">
                <a:alpha val="14000"/>
              </a:srgbClr>
            </a:outerShdw>
          </a:effectLst>
        </p:spPr>
        <p:txBody>
          <a:bodyPr rot="0" spcFirstLastPara="0" vertOverflow="overflow" horzOverflow="overflow" vert="horz" wrap="square" lIns="45719" tIns="45719" rIns="4571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3" name="Овал 82">
            <a:extLst>
              <a:ext uri="{FF2B5EF4-FFF2-40B4-BE49-F238E27FC236}">
                <a16:creationId xmlns="" xmlns:a16="http://schemas.microsoft.com/office/drawing/2014/main" id="{43A588AD-D081-4218-9FC5-4173B454088F}"/>
              </a:ext>
            </a:extLst>
          </p:cNvPr>
          <p:cNvSpPr/>
          <p:nvPr/>
        </p:nvSpPr>
        <p:spPr>
          <a:xfrm>
            <a:off x="4254857" y="2376345"/>
            <a:ext cx="141658" cy="141658"/>
          </a:xfrm>
          <a:prstGeom prst="ellipse">
            <a:avLst/>
          </a:prstGeom>
          <a:solidFill>
            <a:srgbClr val="FFFFFF"/>
          </a:solidFill>
          <a:ln w="6350" cap="flat">
            <a:solidFill>
              <a:srgbClr val="4C3B21">
                <a:alpha val="17000"/>
              </a:srgbClr>
            </a:solidFill>
            <a:prstDash val="solid"/>
            <a:miter lim="800000"/>
          </a:ln>
          <a:effectLst>
            <a:outerShdw blurRad="304800" rotWithShape="0">
              <a:srgbClr val="6B522E">
                <a:alpha val="14000"/>
              </a:srgbClr>
            </a:outerShdw>
          </a:effectLst>
        </p:spPr>
        <p:txBody>
          <a:bodyPr rot="0" spcFirstLastPara="0" vertOverflow="overflow" horzOverflow="overflow" vert="horz" wrap="square" lIns="45719" tIns="45719" rIns="4571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4" name="Овал 83">
            <a:extLst>
              <a:ext uri="{FF2B5EF4-FFF2-40B4-BE49-F238E27FC236}">
                <a16:creationId xmlns="" xmlns:a16="http://schemas.microsoft.com/office/drawing/2014/main" id="{3FCF0080-CB56-4564-A01B-222E2C68EAA6}"/>
              </a:ext>
            </a:extLst>
          </p:cNvPr>
          <p:cNvSpPr/>
          <p:nvPr/>
        </p:nvSpPr>
        <p:spPr>
          <a:xfrm>
            <a:off x="4611362" y="5044635"/>
            <a:ext cx="246332" cy="246332"/>
          </a:xfrm>
          <a:prstGeom prst="ellipse">
            <a:avLst/>
          </a:prstGeom>
          <a:solidFill>
            <a:srgbClr val="FFFFFF"/>
          </a:solidFill>
          <a:ln w="6350" cap="flat">
            <a:solidFill>
              <a:srgbClr val="4C3B21">
                <a:alpha val="17000"/>
              </a:srgbClr>
            </a:solidFill>
            <a:prstDash val="solid"/>
            <a:miter lim="800000"/>
          </a:ln>
          <a:effectLst>
            <a:outerShdw blurRad="304800" rotWithShape="0">
              <a:srgbClr val="6B522E">
                <a:alpha val="14000"/>
              </a:srgbClr>
            </a:outerShdw>
          </a:effectLst>
        </p:spPr>
        <p:txBody>
          <a:bodyPr rot="0" spcFirstLastPara="0" vertOverflow="overflow" horzOverflow="overflow" vert="horz" wrap="square" lIns="45719" tIns="45719" rIns="4571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5" name="Овал 84">
            <a:extLst>
              <a:ext uri="{FF2B5EF4-FFF2-40B4-BE49-F238E27FC236}">
                <a16:creationId xmlns="" xmlns:a16="http://schemas.microsoft.com/office/drawing/2014/main" id="{5F35E07A-E72B-416A-8969-B7B19C86B3CF}"/>
              </a:ext>
            </a:extLst>
          </p:cNvPr>
          <p:cNvSpPr/>
          <p:nvPr/>
        </p:nvSpPr>
        <p:spPr>
          <a:xfrm>
            <a:off x="6713569" y="4384658"/>
            <a:ext cx="141658" cy="141658"/>
          </a:xfrm>
          <a:prstGeom prst="ellipse">
            <a:avLst/>
          </a:prstGeom>
          <a:solidFill>
            <a:srgbClr val="FFFFFF"/>
          </a:solidFill>
          <a:ln w="6350" cap="flat">
            <a:solidFill>
              <a:srgbClr val="4C3B21">
                <a:alpha val="17000"/>
              </a:srgbClr>
            </a:solidFill>
            <a:prstDash val="solid"/>
            <a:miter lim="800000"/>
          </a:ln>
          <a:effectLst>
            <a:outerShdw blurRad="304800" rotWithShape="0">
              <a:srgbClr val="6B522E">
                <a:alpha val="14000"/>
              </a:srgbClr>
            </a:outerShdw>
          </a:effectLst>
        </p:spPr>
        <p:txBody>
          <a:bodyPr rot="0" spcFirstLastPara="0" vertOverflow="overflow" horzOverflow="overflow" vert="horz" wrap="square" lIns="45719" tIns="45719" rIns="4571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7" name="Овал 86">
            <a:extLst>
              <a:ext uri="{FF2B5EF4-FFF2-40B4-BE49-F238E27FC236}">
                <a16:creationId xmlns="" xmlns:a16="http://schemas.microsoft.com/office/drawing/2014/main" id="{04420B55-4BCA-4859-9222-FCE0FB81D9EB}"/>
              </a:ext>
            </a:extLst>
          </p:cNvPr>
          <p:cNvSpPr/>
          <p:nvPr/>
        </p:nvSpPr>
        <p:spPr>
          <a:xfrm>
            <a:off x="462164" y="2259751"/>
            <a:ext cx="246332" cy="246332"/>
          </a:xfrm>
          <a:prstGeom prst="ellipse">
            <a:avLst/>
          </a:prstGeom>
          <a:solidFill>
            <a:srgbClr val="FFFFFF"/>
          </a:solidFill>
          <a:ln w="6350" cap="flat">
            <a:solidFill>
              <a:srgbClr val="4C3B21">
                <a:alpha val="17000"/>
              </a:srgbClr>
            </a:solidFill>
            <a:prstDash val="solid"/>
            <a:miter lim="800000"/>
          </a:ln>
          <a:effectLst>
            <a:outerShdw blurRad="304800" rotWithShape="0">
              <a:srgbClr val="6B522E">
                <a:alpha val="14000"/>
              </a:srgbClr>
            </a:outerShdw>
          </a:effectLst>
        </p:spPr>
        <p:txBody>
          <a:bodyPr rot="0" spcFirstLastPara="0" vertOverflow="overflow" horzOverflow="overflow" vert="horz" wrap="square" lIns="45719" tIns="45719" rIns="4571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8" name="Овал 87">
            <a:extLst>
              <a:ext uri="{FF2B5EF4-FFF2-40B4-BE49-F238E27FC236}">
                <a16:creationId xmlns="" xmlns:a16="http://schemas.microsoft.com/office/drawing/2014/main" id="{41D5E92B-854F-431A-9975-34EFD0426D12}"/>
              </a:ext>
            </a:extLst>
          </p:cNvPr>
          <p:cNvSpPr/>
          <p:nvPr/>
        </p:nvSpPr>
        <p:spPr>
          <a:xfrm>
            <a:off x="558453" y="5380760"/>
            <a:ext cx="141658" cy="141658"/>
          </a:xfrm>
          <a:prstGeom prst="ellipse">
            <a:avLst/>
          </a:prstGeom>
          <a:solidFill>
            <a:srgbClr val="FFFFFF"/>
          </a:solidFill>
          <a:ln w="6350" cap="flat">
            <a:solidFill>
              <a:srgbClr val="4C3B21">
                <a:alpha val="17000"/>
              </a:srgbClr>
            </a:solidFill>
            <a:prstDash val="solid"/>
            <a:miter lim="800000"/>
          </a:ln>
          <a:effectLst>
            <a:outerShdw blurRad="304800" rotWithShape="0">
              <a:srgbClr val="6B522E">
                <a:alpha val="14000"/>
              </a:srgbClr>
            </a:outerShdw>
          </a:effectLst>
        </p:spPr>
        <p:txBody>
          <a:bodyPr rot="0" spcFirstLastPara="0" vertOverflow="overflow" horzOverflow="overflow" vert="horz" wrap="square" lIns="45719" tIns="45719" rIns="4571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91" name="Прямая соединительная линия 90">
            <a:extLst>
              <a:ext uri="{FF2B5EF4-FFF2-40B4-BE49-F238E27FC236}">
                <a16:creationId xmlns="" xmlns:a16="http://schemas.microsoft.com/office/drawing/2014/main" id="{7C961633-E1B6-40C0-A4F5-B49310E59E87}"/>
              </a:ext>
            </a:extLst>
          </p:cNvPr>
          <p:cNvCxnSpPr>
            <a:cxnSpLocks/>
          </p:cNvCxnSpPr>
          <p:nvPr/>
        </p:nvCxnSpPr>
        <p:spPr>
          <a:xfrm flipV="1">
            <a:off x="3782737" y="1213605"/>
            <a:ext cx="0" cy="4996697"/>
          </a:xfrm>
          <a:prstGeom prst="line">
            <a:avLst/>
          </a:prstGeom>
          <a:noFill/>
          <a:ln w="31750" cap="rnd">
            <a:solidFill>
              <a:schemeClr val="accent5"/>
            </a:solidFill>
            <a:prstDash val="sysDot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9" name="Овал 98">
            <a:extLst>
              <a:ext uri="{FF2B5EF4-FFF2-40B4-BE49-F238E27FC236}">
                <a16:creationId xmlns="" xmlns:a16="http://schemas.microsoft.com/office/drawing/2014/main" id="{10DAD4F4-2125-4C19-9691-5AE8AC6A7BD9}"/>
              </a:ext>
            </a:extLst>
          </p:cNvPr>
          <p:cNvSpPr/>
          <p:nvPr/>
        </p:nvSpPr>
        <p:spPr>
          <a:xfrm>
            <a:off x="1869681" y="1108917"/>
            <a:ext cx="141658" cy="141658"/>
          </a:xfrm>
          <a:prstGeom prst="ellipse">
            <a:avLst/>
          </a:prstGeom>
          <a:solidFill>
            <a:srgbClr val="FFFFFF"/>
          </a:solidFill>
          <a:ln w="6350" cap="flat">
            <a:solidFill>
              <a:srgbClr val="4C3B21">
                <a:alpha val="17000"/>
              </a:srgbClr>
            </a:solidFill>
            <a:prstDash val="solid"/>
            <a:miter lim="800000"/>
          </a:ln>
          <a:effectLst>
            <a:outerShdw blurRad="304800" rotWithShape="0">
              <a:srgbClr val="6B522E">
                <a:alpha val="14000"/>
              </a:srgbClr>
            </a:outerShdw>
          </a:effectLst>
        </p:spPr>
        <p:txBody>
          <a:bodyPr rot="0" spcFirstLastPara="0" vertOverflow="overflow" horzOverflow="overflow" vert="horz" wrap="square" lIns="45719" tIns="45719" rIns="4571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0" name="Овал 99">
            <a:extLst>
              <a:ext uri="{FF2B5EF4-FFF2-40B4-BE49-F238E27FC236}">
                <a16:creationId xmlns="" xmlns:a16="http://schemas.microsoft.com/office/drawing/2014/main" id="{214CA900-2715-48C0-A72E-C964B96FFFFF}"/>
              </a:ext>
            </a:extLst>
          </p:cNvPr>
          <p:cNvSpPr/>
          <p:nvPr/>
        </p:nvSpPr>
        <p:spPr>
          <a:xfrm>
            <a:off x="1961350" y="6043170"/>
            <a:ext cx="91363" cy="91363"/>
          </a:xfrm>
          <a:prstGeom prst="ellipse">
            <a:avLst/>
          </a:prstGeom>
          <a:solidFill>
            <a:srgbClr val="FFFFFF"/>
          </a:solidFill>
          <a:ln w="6350" cap="flat">
            <a:solidFill>
              <a:srgbClr val="4C3B21">
                <a:alpha val="17000"/>
              </a:srgbClr>
            </a:solidFill>
            <a:prstDash val="solid"/>
            <a:miter lim="800000"/>
          </a:ln>
          <a:effectLst>
            <a:outerShdw blurRad="304800" rotWithShape="0">
              <a:srgbClr val="6B522E">
                <a:alpha val="14000"/>
              </a:srgbClr>
            </a:outerShdw>
          </a:effectLst>
        </p:spPr>
        <p:txBody>
          <a:bodyPr rot="0" spcFirstLastPara="0" vertOverflow="overflow" horzOverflow="overflow" vert="horz" wrap="square" lIns="45719" tIns="45719" rIns="4571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5" name="Рисунок 104">
            <a:extLst>
              <a:ext uri="{FF2B5EF4-FFF2-40B4-BE49-F238E27FC236}">
                <a16:creationId xmlns="" xmlns:a16="http://schemas.microsoft.com/office/drawing/2014/main" id="{8E0B3CD4-87E8-47A3-A60F-129DA81A481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=""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176087" y="2592579"/>
            <a:ext cx="828913" cy="660977"/>
          </a:xfrm>
          <a:prstGeom prst="rect">
            <a:avLst/>
          </a:prstGeom>
        </p:spPr>
      </p:pic>
      <p:pic>
        <p:nvPicPr>
          <p:cNvPr id="106" name="Рисунок 105">
            <a:extLst>
              <a:ext uri="{FF2B5EF4-FFF2-40B4-BE49-F238E27FC236}">
                <a16:creationId xmlns="" xmlns:a16="http://schemas.microsoft.com/office/drawing/2014/main" id="{A2F2B10E-84EE-4CA0-9AD7-8115898E6369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=""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631914" y="2568627"/>
            <a:ext cx="808941" cy="684929"/>
          </a:xfrm>
          <a:prstGeom prst="rect">
            <a:avLst/>
          </a:prstGeom>
        </p:spPr>
      </p:pic>
      <p:grpSp>
        <p:nvGrpSpPr>
          <p:cNvPr id="107" name="Группа 106">
            <a:extLst>
              <a:ext uri="{FF2B5EF4-FFF2-40B4-BE49-F238E27FC236}">
                <a16:creationId xmlns="" xmlns:a16="http://schemas.microsoft.com/office/drawing/2014/main" id="{9348E7D4-7760-45D3-8D62-35158DD5831D}"/>
              </a:ext>
            </a:extLst>
          </p:cNvPr>
          <p:cNvGrpSpPr/>
          <p:nvPr/>
        </p:nvGrpSpPr>
        <p:grpSpPr>
          <a:xfrm>
            <a:off x="1509526" y="4955773"/>
            <a:ext cx="617305" cy="617305"/>
            <a:chOff x="2955674" y="4246417"/>
            <a:chExt cx="877392" cy="877392"/>
          </a:xfrm>
        </p:grpSpPr>
        <p:sp>
          <p:nvSpPr>
            <p:cNvPr id="108" name="Овал 107">
              <a:extLst>
                <a:ext uri="{FF2B5EF4-FFF2-40B4-BE49-F238E27FC236}">
                  <a16:creationId xmlns="" xmlns:a16="http://schemas.microsoft.com/office/drawing/2014/main" id="{1D304125-E339-4557-AD0D-F32FB6329BBC}"/>
                </a:ext>
              </a:extLst>
            </p:cNvPr>
            <p:cNvSpPr/>
            <p:nvPr/>
          </p:nvSpPr>
          <p:spPr>
            <a:xfrm>
              <a:off x="2955674" y="4246417"/>
              <a:ext cx="877392" cy="877392"/>
            </a:xfrm>
            <a:prstGeom prst="ellipse">
              <a:avLst/>
            </a:prstGeom>
            <a:solidFill>
              <a:srgbClr val="FFFFFF"/>
            </a:solidFill>
            <a:ln w="6350" cap="flat">
              <a:solidFill>
                <a:srgbClr val="4C3B21">
                  <a:alpha val="17000"/>
                </a:srgbClr>
              </a:solidFill>
              <a:prstDash val="solid"/>
              <a:miter lim="800000"/>
            </a:ln>
            <a:effectLst>
              <a:outerShdw blurRad="304800" rotWithShape="0">
                <a:srgbClr val="6B522E">
                  <a:alpha val="14000"/>
                </a:srgbClr>
              </a:outerShdw>
            </a:effectLst>
          </p:spPr>
          <p:txBody>
            <a:bodyPr rot="0" spcFirstLastPara="0" vertOverflow="overflow" horzOverflow="overflow" vert="horz" wrap="square" lIns="45719" tIns="45719" rIns="45719" bIns="4571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09" name="Рисунок 108">
              <a:extLst>
                <a:ext uri="{FF2B5EF4-FFF2-40B4-BE49-F238E27FC236}">
                  <a16:creationId xmlns="" xmlns:a16="http://schemas.microsoft.com/office/drawing/2014/main" id="{6DA022EB-FE6C-45A0-8DBA-BBCB3E9E6E03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hq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014934" y="4288439"/>
              <a:ext cx="776190" cy="750772"/>
            </a:xfrm>
            <a:prstGeom prst="rect">
              <a:avLst/>
            </a:prstGeom>
          </p:spPr>
        </p:pic>
      </p:grpSp>
      <p:sp>
        <p:nvSpPr>
          <p:cNvPr id="110" name="Овал 109">
            <a:extLst>
              <a:ext uri="{FF2B5EF4-FFF2-40B4-BE49-F238E27FC236}">
                <a16:creationId xmlns="" xmlns:a16="http://schemas.microsoft.com/office/drawing/2014/main" id="{4FCEDB51-C578-4BEE-A728-3B2469E9ED84}"/>
              </a:ext>
            </a:extLst>
          </p:cNvPr>
          <p:cNvSpPr/>
          <p:nvPr/>
        </p:nvSpPr>
        <p:spPr>
          <a:xfrm>
            <a:off x="846594" y="6210302"/>
            <a:ext cx="97372" cy="97372"/>
          </a:xfrm>
          <a:prstGeom prst="ellipse">
            <a:avLst/>
          </a:prstGeom>
          <a:solidFill>
            <a:srgbClr val="FFFFFF"/>
          </a:solidFill>
          <a:ln w="6350" cap="flat">
            <a:solidFill>
              <a:srgbClr val="4C3B21">
                <a:alpha val="17000"/>
              </a:srgbClr>
            </a:solidFill>
            <a:prstDash val="solid"/>
            <a:miter lim="800000"/>
          </a:ln>
          <a:effectLst>
            <a:outerShdw blurRad="304800" rotWithShape="0">
              <a:srgbClr val="6B522E">
                <a:alpha val="14000"/>
              </a:srgbClr>
            </a:outerShdw>
          </a:effectLst>
        </p:spPr>
        <p:txBody>
          <a:bodyPr rot="0" spcFirstLastPara="0" vertOverflow="overflow" horzOverflow="overflow" vert="horz" wrap="square" lIns="45719" tIns="45719" rIns="4571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11" name="Группа 110">
            <a:extLst>
              <a:ext uri="{FF2B5EF4-FFF2-40B4-BE49-F238E27FC236}">
                <a16:creationId xmlns="" xmlns:a16="http://schemas.microsoft.com/office/drawing/2014/main" id="{49D2C781-0392-4EFC-9CF2-F3E9C1F22961}"/>
              </a:ext>
            </a:extLst>
          </p:cNvPr>
          <p:cNvGrpSpPr/>
          <p:nvPr/>
        </p:nvGrpSpPr>
        <p:grpSpPr>
          <a:xfrm>
            <a:off x="936910" y="5559026"/>
            <a:ext cx="631885" cy="631885"/>
            <a:chOff x="482317" y="3964360"/>
            <a:chExt cx="775996" cy="775996"/>
          </a:xfrm>
        </p:grpSpPr>
        <p:sp>
          <p:nvSpPr>
            <p:cNvPr id="112" name="Овал 111">
              <a:extLst>
                <a:ext uri="{FF2B5EF4-FFF2-40B4-BE49-F238E27FC236}">
                  <a16:creationId xmlns="" xmlns:a16="http://schemas.microsoft.com/office/drawing/2014/main" id="{A17DE1C5-78C0-4AEE-8F00-06815C0D0192}"/>
                </a:ext>
              </a:extLst>
            </p:cNvPr>
            <p:cNvSpPr/>
            <p:nvPr/>
          </p:nvSpPr>
          <p:spPr>
            <a:xfrm>
              <a:off x="482317" y="3964360"/>
              <a:ext cx="775996" cy="775996"/>
            </a:xfrm>
            <a:prstGeom prst="ellipse">
              <a:avLst/>
            </a:prstGeom>
            <a:solidFill>
              <a:srgbClr val="FFFFFF"/>
            </a:solidFill>
            <a:ln w="6350" cap="flat">
              <a:solidFill>
                <a:srgbClr val="4C3B21">
                  <a:alpha val="17000"/>
                </a:srgbClr>
              </a:solidFill>
              <a:prstDash val="solid"/>
              <a:miter lim="800000"/>
            </a:ln>
            <a:effectLst>
              <a:outerShdw blurRad="304800" rotWithShape="0">
                <a:srgbClr val="6B522E">
                  <a:alpha val="14000"/>
                </a:srgbClr>
              </a:outerShdw>
            </a:effectLst>
          </p:spPr>
          <p:txBody>
            <a:bodyPr rot="0" spcFirstLastPara="0" vertOverflow="overflow" horzOverflow="overflow" vert="horz" wrap="square" lIns="45719" tIns="45719" rIns="45719" bIns="4571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13" name="Рисунок 112">
              <a:extLst>
                <a:ext uri="{FF2B5EF4-FFF2-40B4-BE49-F238E27FC236}">
                  <a16:creationId xmlns="" xmlns:a16="http://schemas.microsoft.com/office/drawing/2014/main" id="{84CFEAD6-3D72-45A1-BF76-96D81F6D0424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588463" y="4069357"/>
              <a:ext cx="561172" cy="561172"/>
            </a:xfrm>
            <a:prstGeom prst="ellipse">
              <a:avLst/>
            </a:prstGeom>
          </p:spPr>
        </p:pic>
      </p:grpSp>
      <p:sp>
        <p:nvSpPr>
          <p:cNvPr id="73" name="Овал 72">
            <a:extLst>
              <a:ext uri="{FF2B5EF4-FFF2-40B4-BE49-F238E27FC236}">
                <a16:creationId xmlns="" xmlns:a16="http://schemas.microsoft.com/office/drawing/2014/main" id="{EADE6BB4-0012-42E5-B686-9EDE5020C32F}"/>
              </a:ext>
            </a:extLst>
          </p:cNvPr>
          <p:cNvSpPr/>
          <p:nvPr/>
        </p:nvSpPr>
        <p:spPr>
          <a:xfrm>
            <a:off x="8263412" y="1433441"/>
            <a:ext cx="2590454" cy="2590454"/>
          </a:xfrm>
          <a:prstGeom prst="ellipse">
            <a:avLst/>
          </a:prstGeom>
          <a:solidFill>
            <a:srgbClr val="FFFFFF"/>
          </a:solidFill>
          <a:ln w="6350" cap="flat">
            <a:solidFill>
              <a:srgbClr val="4C3B21">
                <a:alpha val="17000"/>
              </a:srgbClr>
            </a:solidFill>
            <a:prstDash val="solid"/>
            <a:miter lim="800000"/>
          </a:ln>
          <a:effectLst>
            <a:outerShdw blurRad="304800" rotWithShape="0">
              <a:srgbClr val="6B522E">
                <a:alpha val="28000"/>
              </a:srgbClr>
            </a:outerShdw>
          </a:effectLst>
        </p:spPr>
        <p:txBody>
          <a:bodyPr rot="0" spcFirstLastPara="0" vertOverflow="overflow" horzOverflow="overflow" vert="horz" wrap="square" lIns="45719" tIns="45719" rIns="4571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5" name="Рисунок 54">
            <a:extLst>
              <a:ext uri="{FF2B5EF4-FFF2-40B4-BE49-F238E27FC236}">
                <a16:creationId xmlns="" xmlns:a16="http://schemas.microsoft.com/office/drawing/2014/main" id="{995A8329-9527-4EDC-992D-AA014F4D55CB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=""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9081529" y="1668694"/>
            <a:ext cx="988468" cy="585842"/>
          </a:xfrm>
          <a:prstGeom prst="rect">
            <a:avLst/>
          </a:prstGeom>
        </p:spPr>
      </p:pic>
      <p:grpSp>
        <p:nvGrpSpPr>
          <p:cNvPr id="20" name="Группа 19">
            <a:extLst>
              <a:ext uri="{FF2B5EF4-FFF2-40B4-BE49-F238E27FC236}">
                <a16:creationId xmlns="" xmlns:a16="http://schemas.microsoft.com/office/drawing/2014/main" id="{81D596E5-33C2-4E8E-9B6F-8657E1C185B1}"/>
              </a:ext>
            </a:extLst>
          </p:cNvPr>
          <p:cNvGrpSpPr/>
          <p:nvPr/>
        </p:nvGrpSpPr>
        <p:grpSpPr>
          <a:xfrm>
            <a:off x="8627553" y="2315892"/>
            <a:ext cx="2069456" cy="1366253"/>
            <a:chOff x="8359660" y="3700347"/>
            <a:chExt cx="2069456" cy="1366253"/>
          </a:xfrm>
        </p:grpSpPr>
        <p:sp>
          <p:nvSpPr>
            <p:cNvPr id="21" name="Объект 3">
              <a:extLst>
                <a:ext uri="{FF2B5EF4-FFF2-40B4-BE49-F238E27FC236}">
                  <a16:creationId xmlns="" xmlns:a16="http://schemas.microsoft.com/office/drawing/2014/main" id="{94C4DD6E-9F55-41A0-B605-1DA2062AE1E6}"/>
                </a:ext>
              </a:extLst>
            </p:cNvPr>
            <p:cNvSpPr txBox="1">
              <a:spLocks/>
            </p:cNvSpPr>
            <p:nvPr/>
          </p:nvSpPr>
          <p:spPr>
            <a:xfrm>
              <a:off x="8359660" y="4176719"/>
              <a:ext cx="1853726" cy="889881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0" marR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2800" b="1" kern="1200">
                  <a:solidFill>
                    <a:srgbClr val="3C3837"/>
                  </a:solidFill>
                  <a:latin typeface="+mn-lt"/>
                  <a:ea typeface="+mn-ea"/>
                  <a:cs typeface="+mn-cs"/>
                </a:defRPr>
              </a:lvl1pPr>
              <a:lvl2pPr marL="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800" kern="1200">
                  <a:solidFill>
                    <a:srgbClr val="3C3837"/>
                  </a:solidFill>
                  <a:latin typeface="+mn-lt"/>
                  <a:ea typeface="+mn-ea"/>
                  <a:cs typeface="+mn-cs"/>
                </a:defRPr>
              </a:lvl2pPr>
              <a:lvl3pPr marL="9144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3C3837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постов о проектах</a:t>
              </a:r>
              <a:b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3C3837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</a:b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3C3837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в социальных сетях</a:t>
              </a:r>
            </a:p>
          </p:txBody>
        </p:sp>
        <p:sp>
          <p:nvSpPr>
            <p:cNvPr id="22" name="Полилиния: фигура 21">
              <a:extLst>
                <a:ext uri="{FF2B5EF4-FFF2-40B4-BE49-F238E27FC236}">
                  <a16:creationId xmlns="" xmlns:a16="http://schemas.microsoft.com/office/drawing/2014/main" id="{94E00BA2-D0DA-4EEB-88B3-E17EDF2C73BF}"/>
                </a:ext>
              </a:extLst>
            </p:cNvPr>
            <p:cNvSpPr/>
            <p:nvPr/>
          </p:nvSpPr>
          <p:spPr>
            <a:xfrm>
              <a:off x="8701708" y="3744227"/>
              <a:ext cx="458862" cy="548025"/>
            </a:xfrm>
            <a:custGeom>
              <a:avLst/>
              <a:gdLst>
                <a:gd name="connsiteX0" fmla="*/ 517080 w 650784"/>
                <a:gd name="connsiteY0" fmla="*/ 34081 h 777240"/>
                <a:gd name="connsiteX1" fmla="*/ 590178 w 650784"/>
                <a:gd name="connsiteY1" fmla="*/ 16501 h 777240"/>
                <a:gd name="connsiteX2" fmla="*/ 649396 w 650784"/>
                <a:gd name="connsiteY2" fmla="*/ 2313 h 777240"/>
                <a:gd name="connsiteX3" fmla="*/ 569822 w 650784"/>
                <a:gd name="connsiteY3" fmla="*/ 92066 h 777240"/>
                <a:gd name="connsiteX4" fmla="*/ 432880 w 650784"/>
                <a:gd name="connsiteY4" fmla="*/ 601590 h 777240"/>
                <a:gd name="connsiteX5" fmla="*/ 353305 w 650784"/>
                <a:gd name="connsiteY5" fmla="*/ 691651 h 777240"/>
                <a:gd name="connsiteX6" fmla="*/ 123834 w 650784"/>
                <a:gd name="connsiteY6" fmla="*/ 746860 h 777240"/>
                <a:gd name="connsiteX7" fmla="*/ 61223 w 650784"/>
                <a:gd name="connsiteY7" fmla="*/ 761973 h 777240"/>
                <a:gd name="connsiteX8" fmla="*/ 2313 w 650784"/>
                <a:gd name="connsiteY8" fmla="*/ 776161 h 777240"/>
                <a:gd name="connsiteX9" fmla="*/ 81888 w 650784"/>
                <a:gd name="connsiteY9" fmla="*/ 686408 h 777240"/>
                <a:gd name="connsiteX10" fmla="*/ 218830 w 650784"/>
                <a:gd name="connsiteY10" fmla="*/ 176884 h 777240"/>
                <a:gd name="connsiteX11" fmla="*/ 298405 w 650784"/>
                <a:gd name="connsiteY11" fmla="*/ 86823 h 777240"/>
                <a:gd name="connsiteX12" fmla="*/ 517080 w 650784"/>
                <a:gd name="connsiteY12" fmla="*/ 34081 h 777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0784" h="777240">
                  <a:moveTo>
                    <a:pt x="517080" y="34081"/>
                  </a:moveTo>
                  <a:lnTo>
                    <a:pt x="590178" y="16501"/>
                  </a:lnTo>
                  <a:lnTo>
                    <a:pt x="649396" y="2313"/>
                  </a:lnTo>
                  <a:cubicBezTo>
                    <a:pt x="613927" y="10949"/>
                    <a:pt x="582159" y="46727"/>
                    <a:pt x="569822" y="92066"/>
                  </a:cubicBezTo>
                  <a:lnTo>
                    <a:pt x="432880" y="601590"/>
                  </a:lnTo>
                  <a:cubicBezTo>
                    <a:pt x="420542" y="647238"/>
                    <a:pt x="388774" y="683015"/>
                    <a:pt x="353305" y="691651"/>
                  </a:cubicBezTo>
                  <a:lnTo>
                    <a:pt x="123834" y="746860"/>
                  </a:lnTo>
                  <a:lnTo>
                    <a:pt x="61223" y="761973"/>
                  </a:lnTo>
                  <a:lnTo>
                    <a:pt x="2313" y="776161"/>
                  </a:lnTo>
                  <a:cubicBezTo>
                    <a:pt x="37783" y="767525"/>
                    <a:pt x="69551" y="731747"/>
                    <a:pt x="81888" y="686408"/>
                  </a:cubicBezTo>
                  <a:lnTo>
                    <a:pt x="218830" y="176884"/>
                  </a:lnTo>
                  <a:cubicBezTo>
                    <a:pt x="231167" y="131236"/>
                    <a:pt x="262935" y="95459"/>
                    <a:pt x="298405" y="86823"/>
                  </a:cubicBezTo>
                  <a:lnTo>
                    <a:pt x="517080" y="34081"/>
                  </a:lnTo>
                  <a:close/>
                </a:path>
              </a:pathLst>
            </a:custGeom>
            <a:gradFill>
              <a:gsLst>
                <a:gs pos="0">
                  <a:srgbClr val="FFE682"/>
                </a:gs>
                <a:gs pos="100000">
                  <a:srgbClr val="FFC61B"/>
                </a:gs>
              </a:gsLst>
              <a:lin ang="16800000" scaled="0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Объект 3">
              <a:extLst>
                <a:ext uri="{FF2B5EF4-FFF2-40B4-BE49-F238E27FC236}">
                  <a16:creationId xmlns="" xmlns:a16="http://schemas.microsoft.com/office/drawing/2014/main" id="{B19E2F11-9F50-416E-9D51-63932D519FB5}"/>
                </a:ext>
              </a:extLst>
            </p:cNvPr>
            <p:cNvSpPr txBox="1">
              <a:spLocks/>
            </p:cNvSpPr>
            <p:nvPr/>
          </p:nvSpPr>
          <p:spPr>
            <a:xfrm>
              <a:off x="8771613" y="3700347"/>
              <a:ext cx="1657503" cy="958985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0" marR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2800" b="1" kern="1200">
                  <a:solidFill>
                    <a:srgbClr val="3C3837"/>
                  </a:solidFill>
                  <a:latin typeface="+mn-lt"/>
                  <a:ea typeface="+mn-ea"/>
                  <a:cs typeface="+mn-cs"/>
                </a:defRPr>
              </a:lvl1pPr>
              <a:lvl2pPr marL="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800" kern="1200">
                  <a:solidFill>
                    <a:srgbClr val="3C3837"/>
                  </a:solidFill>
                  <a:latin typeface="+mn-lt"/>
                  <a:ea typeface="+mn-ea"/>
                  <a:cs typeface="+mn-cs"/>
                </a:defRPr>
              </a:lvl2pPr>
              <a:lvl3pPr marL="9144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ru-RU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3C3837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 038</a:t>
              </a:r>
            </a:p>
          </p:txBody>
        </p:sp>
      </p:grpSp>
      <p:sp>
        <p:nvSpPr>
          <p:cNvPr id="76" name="Овал 75">
            <a:extLst>
              <a:ext uri="{FF2B5EF4-FFF2-40B4-BE49-F238E27FC236}">
                <a16:creationId xmlns="" xmlns:a16="http://schemas.microsoft.com/office/drawing/2014/main" id="{1C6EAB87-8F81-437F-A113-EC4FAE65E8DB}"/>
              </a:ext>
            </a:extLst>
          </p:cNvPr>
          <p:cNvSpPr/>
          <p:nvPr/>
        </p:nvSpPr>
        <p:spPr>
          <a:xfrm>
            <a:off x="8680318" y="3700175"/>
            <a:ext cx="1748196" cy="1748196"/>
          </a:xfrm>
          <a:prstGeom prst="ellipse">
            <a:avLst/>
          </a:prstGeom>
          <a:solidFill>
            <a:srgbClr val="FFFFFF"/>
          </a:solidFill>
          <a:ln w="6350" cap="flat">
            <a:solidFill>
              <a:srgbClr val="4C3B21">
                <a:alpha val="17000"/>
              </a:srgbClr>
            </a:solidFill>
            <a:prstDash val="solid"/>
            <a:miter lim="800000"/>
          </a:ln>
          <a:effectLst>
            <a:outerShdw blurRad="304800" rotWithShape="0">
              <a:srgbClr val="6B522E">
                <a:alpha val="28000"/>
              </a:srgbClr>
            </a:outerShdw>
          </a:effectLst>
        </p:spPr>
        <p:txBody>
          <a:bodyPr rot="0" spcFirstLastPara="0" vertOverflow="overflow" horzOverflow="overflow" vert="horz" wrap="square" lIns="45719" tIns="45719" rIns="4571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8" name="Группа 7">
            <a:extLst>
              <a:ext uri="{FF2B5EF4-FFF2-40B4-BE49-F238E27FC236}">
                <a16:creationId xmlns="" xmlns:a16="http://schemas.microsoft.com/office/drawing/2014/main" id="{8500FD4A-D71A-47F5-AA36-D971753F993D}"/>
              </a:ext>
            </a:extLst>
          </p:cNvPr>
          <p:cNvGrpSpPr/>
          <p:nvPr/>
        </p:nvGrpSpPr>
        <p:grpSpPr>
          <a:xfrm>
            <a:off x="8693183" y="4023895"/>
            <a:ext cx="1948007" cy="1322373"/>
            <a:chOff x="8486224" y="3744227"/>
            <a:chExt cx="1948007" cy="1322373"/>
          </a:xfrm>
        </p:grpSpPr>
        <p:sp>
          <p:nvSpPr>
            <p:cNvPr id="9" name="Объект 3">
              <a:extLst>
                <a:ext uri="{FF2B5EF4-FFF2-40B4-BE49-F238E27FC236}">
                  <a16:creationId xmlns="" xmlns:a16="http://schemas.microsoft.com/office/drawing/2014/main" id="{8E61E21A-F016-45B1-A0DB-DC1F5EAB71F9}"/>
                </a:ext>
              </a:extLst>
            </p:cNvPr>
            <p:cNvSpPr txBox="1">
              <a:spLocks/>
            </p:cNvSpPr>
            <p:nvPr/>
          </p:nvSpPr>
          <p:spPr>
            <a:xfrm>
              <a:off x="8486224" y="4176719"/>
              <a:ext cx="1737600" cy="889881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0" marR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2800" b="1" kern="1200">
                  <a:solidFill>
                    <a:srgbClr val="3C3837"/>
                  </a:solidFill>
                  <a:latin typeface="+mn-lt"/>
                  <a:ea typeface="+mn-ea"/>
                  <a:cs typeface="+mn-cs"/>
                </a:defRPr>
              </a:lvl1pPr>
              <a:lvl2pPr marL="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800" kern="1200">
                  <a:solidFill>
                    <a:srgbClr val="3C3837"/>
                  </a:solidFill>
                  <a:latin typeface="+mn-lt"/>
                  <a:ea typeface="+mn-ea"/>
                  <a:cs typeface="+mn-cs"/>
                </a:defRPr>
              </a:lvl2pPr>
              <a:lvl3pPr marL="9144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3C3837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подписчиков </a:t>
              </a:r>
              <a:b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3C3837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</a:b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3C3837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в социальных сетях</a:t>
              </a:r>
            </a:p>
          </p:txBody>
        </p:sp>
        <p:sp>
          <p:nvSpPr>
            <p:cNvPr id="10" name="Полилиния: фигура 9">
              <a:extLst>
                <a:ext uri="{FF2B5EF4-FFF2-40B4-BE49-F238E27FC236}">
                  <a16:creationId xmlns="" xmlns:a16="http://schemas.microsoft.com/office/drawing/2014/main" id="{6A9B41BE-D493-4219-8D7C-7325C3DFDBEC}"/>
                </a:ext>
              </a:extLst>
            </p:cNvPr>
            <p:cNvSpPr/>
            <p:nvPr/>
          </p:nvSpPr>
          <p:spPr>
            <a:xfrm>
              <a:off x="8701708" y="3744227"/>
              <a:ext cx="458862" cy="548025"/>
            </a:xfrm>
            <a:custGeom>
              <a:avLst/>
              <a:gdLst>
                <a:gd name="connsiteX0" fmla="*/ 517080 w 650784"/>
                <a:gd name="connsiteY0" fmla="*/ 34081 h 777240"/>
                <a:gd name="connsiteX1" fmla="*/ 590178 w 650784"/>
                <a:gd name="connsiteY1" fmla="*/ 16501 h 777240"/>
                <a:gd name="connsiteX2" fmla="*/ 649396 w 650784"/>
                <a:gd name="connsiteY2" fmla="*/ 2313 h 777240"/>
                <a:gd name="connsiteX3" fmla="*/ 569822 w 650784"/>
                <a:gd name="connsiteY3" fmla="*/ 92066 h 777240"/>
                <a:gd name="connsiteX4" fmla="*/ 432880 w 650784"/>
                <a:gd name="connsiteY4" fmla="*/ 601590 h 777240"/>
                <a:gd name="connsiteX5" fmla="*/ 353305 w 650784"/>
                <a:gd name="connsiteY5" fmla="*/ 691651 h 777240"/>
                <a:gd name="connsiteX6" fmla="*/ 123834 w 650784"/>
                <a:gd name="connsiteY6" fmla="*/ 746860 h 777240"/>
                <a:gd name="connsiteX7" fmla="*/ 61223 w 650784"/>
                <a:gd name="connsiteY7" fmla="*/ 761973 h 777240"/>
                <a:gd name="connsiteX8" fmla="*/ 2313 w 650784"/>
                <a:gd name="connsiteY8" fmla="*/ 776161 h 777240"/>
                <a:gd name="connsiteX9" fmla="*/ 81888 w 650784"/>
                <a:gd name="connsiteY9" fmla="*/ 686408 h 777240"/>
                <a:gd name="connsiteX10" fmla="*/ 218830 w 650784"/>
                <a:gd name="connsiteY10" fmla="*/ 176884 h 777240"/>
                <a:gd name="connsiteX11" fmla="*/ 298405 w 650784"/>
                <a:gd name="connsiteY11" fmla="*/ 86823 h 777240"/>
                <a:gd name="connsiteX12" fmla="*/ 517080 w 650784"/>
                <a:gd name="connsiteY12" fmla="*/ 34081 h 777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0784" h="777240">
                  <a:moveTo>
                    <a:pt x="517080" y="34081"/>
                  </a:moveTo>
                  <a:lnTo>
                    <a:pt x="590178" y="16501"/>
                  </a:lnTo>
                  <a:lnTo>
                    <a:pt x="649396" y="2313"/>
                  </a:lnTo>
                  <a:cubicBezTo>
                    <a:pt x="613927" y="10949"/>
                    <a:pt x="582159" y="46727"/>
                    <a:pt x="569822" y="92066"/>
                  </a:cubicBezTo>
                  <a:lnTo>
                    <a:pt x="432880" y="601590"/>
                  </a:lnTo>
                  <a:cubicBezTo>
                    <a:pt x="420542" y="647238"/>
                    <a:pt x="388774" y="683015"/>
                    <a:pt x="353305" y="691651"/>
                  </a:cubicBezTo>
                  <a:lnTo>
                    <a:pt x="123834" y="746860"/>
                  </a:lnTo>
                  <a:lnTo>
                    <a:pt x="61223" y="761973"/>
                  </a:lnTo>
                  <a:lnTo>
                    <a:pt x="2313" y="776161"/>
                  </a:lnTo>
                  <a:cubicBezTo>
                    <a:pt x="37783" y="767525"/>
                    <a:pt x="69551" y="731747"/>
                    <a:pt x="81888" y="686408"/>
                  </a:cubicBezTo>
                  <a:lnTo>
                    <a:pt x="218830" y="176884"/>
                  </a:lnTo>
                  <a:cubicBezTo>
                    <a:pt x="231167" y="131236"/>
                    <a:pt x="262935" y="95459"/>
                    <a:pt x="298405" y="86823"/>
                  </a:cubicBezTo>
                  <a:lnTo>
                    <a:pt x="517080" y="34081"/>
                  </a:lnTo>
                  <a:close/>
                </a:path>
              </a:pathLst>
            </a:custGeom>
            <a:gradFill>
              <a:gsLst>
                <a:gs pos="0">
                  <a:srgbClr val="FFE682"/>
                </a:gs>
                <a:gs pos="100000">
                  <a:srgbClr val="FFC61B"/>
                </a:gs>
              </a:gsLst>
              <a:lin ang="16800000" scaled="0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Объект 3">
              <a:extLst>
                <a:ext uri="{FF2B5EF4-FFF2-40B4-BE49-F238E27FC236}">
                  <a16:creationId xmlns="" xmlns:a16="http://schemas.microsoft.com/office/drawing/2014/main" id="{8EE53458-EDDD-48A9-B5A8-8C8F3F0C1E4D}"/>
                </a:ext>
              </a:extLst>
            </p:cNvPr>
            <p:cNvSpPr txBox="1">
              <a:spLocks/>
            </p:cNvSpPr>
            <p:nvPr/>
          </p:nvSpPr>
          <p:spPr>
            <a:xfrm>
              <a:off x="8776728" y="3752501"/>
              <a:ext cx="1657503" cy="958985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0" marR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2800" b="1" kern="1200">
                  <a:solidFill>
                    <a:srgbClr val="3C3837"/>
                  </a:solidFill>
                  <a:latin typeface="+mn-lt"/>
                  <a:ea typeface="+mn-ea"/>
                  <a:cs typeface="+mn-cs"/>
                </a:defRPr>
              </a:lvl1pPr>
              <a:lvl2pPr marL="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800" kern="1200">
                  <a:solidFill>
                    <a:srgbClr val="3C3837"/>
                  </a:solidFill>
                  <a:latin typeface="+mn-lt"/>
                  <a:ea typeface="+mn-ea"/>
                  <a:cs typeface="+mn-cs"/>
                </a:defRPr>
              </a:lvl2pPr>
              <a:lvl3pPr marL="9144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ru-RU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3C3837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98 </a:t>
              </a:r>
              <a:r>
                <a:rPr lang="ru-RU" dirty="0">
                  <a:latin typeface="Calibri" panose="020F0502020204030204"/>
                </a:rPr>
                <a:t>000</a:t>
              </a:r>
              <a:endPara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78" name="Прямая соединительная линия 77">
            <a:extLst>
              <a:ext uri="{FF2B5EF4-FFF2-40B4-BE49-F238E27FC236}">
                <a16:creationId xmlns="" xmlns:a16="http://schemas.microsoft.com/office/drawing/2014/main" id="{44CC482E-3D3B-4F9B-BCEB-9A4250C92D34}"/>
              </a:ext>
            </a:extLst>
          </p:cNvPr>
          <p:cNvCxnSpPr>
            <a:cxnSpLocks/>
          </p:cNvCxnSpPr>
          <p:nvPr/>
        </p:nvCxnSpPr>
        <p:spPr>
          <a:xfrm flipV="1">
            <a:off x="7301663" y="1213605"/>
            <a:ext cx="0" cy="4996697"/>
          </a:xfrm>
          <a:prstGeom prst="line">
            <a:avLst/>
          </a:prstGeom>
          <a:noFill/>
          <a:ln w="31750" cap="rnd">
            <a:solidFill>
              <a:schemeClr val="accent5"/>
            </a:solidFill>
            <a:prstDash val="sysDot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2" name="Овал 81">
            <a:extLst>
              <a:ext uri="{FF2B5EF4-FFF2-40B4-BE49-F238E27FC236}">
                <a16:creationId xmlns="" xmlns:a16="http://schemas.microsoft.com/office/drawing/2014/main" id="{E6798E6E-78CC-45CA-B3BD-6E87979D11A9}"/>
              </a:ext>
            </a:extLst>
          </p:cNvPr>
          <p:cNvSpPr/>
          <p:nvPr/>
        </p:nvSpPr>
        <p:spPr>
          <a:xfrm>
            <a:off x="8043522" y="5067506"/>
            <a:ext cx="246332" cy="246332"/>
          </a:xfrm>
          <a:prstGeom prst="ellipse">
            <a:avLst/>
          </a:prstGeom>
          <a:solidFill>
            <a:srgbClr val="FFFFFF"/>
          </a:solidFill>
          <a:ln w="6350" cap="flat">
            <a:solidFill>
              <a:srgbClr val="4C3B21">
                <a:alpha val="17000"/>
              </a:srgbClr>
            </a:solidFill>
            <a:prstDash val="solid"/>
            <a:miter lim="800000"/>
          </a:ln>
          <a:effectLst>
            <a:outerShdw blurRad="304800" rotWithShape="0">
              <a:srgbClr val="6B522E">
                <a:alpha val="14000"/>
              </a:srgbClr>
            </a:outerShdw>
          </a:effectLst>
        </p:spPr>
        <p:txBody>
          <a:bodyPr rot="0" spcFirstLastPara="0" vertOverflow="overflow" horzOverflow="overflow" vert="horz" wrap="square" lIns="45719" tIns="45719" rIns="4571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6" name="Овал 85">
            <a:extLst>
              <a:ext uri="{FF2B5EF4-FFF2-40B4-BE49-F238E27FC236}">
                <a16:creationId xmlns="" xmlns:a16="http://schemas.microsoft.com/office/drawing/2014/main" id="{569125C4-B590-4828-A798-F268105D9554}"/>
              </a:ext>
            </a:extLst>
          </p:cNvPr>
          <p:cNvSpPr/>
          <p:nvPr/>
        </p:nvSpPr>
        <p:spPr>
          <a:xfrm>
            <a:off x="7841862" y="3063858"/>
            <a:ext cx="141658" cy="141658"/>
          </a:xfrm>
          <a:prstGeom prst="ellipse">
            <a:avLst/>
          </a:prstGeom>
          <a:solidFill>
            <a:srgbClr val="FFFFFF"/>
          </a:solidFill>
          <a:ln w="6350" cap="flat">
            <a:solidFill>
              <a:srgbClr val="4C3B21">
                <a:alpha val="17000"/>
              </a:srgbClr>
            </a:solidFill>
            <a:prstDash val="solid"/>
            <a:miter lim="800000"/>
          </a:ln>
          <a:effectLst>
            <a:outerShdw blurRad="304800" rotWithShape="0">
              <a:srgbClr val="6B522E">
                <a:alpha val="14000"/>
              </a:srgbClr>
            </a:outerShdw>
          </a:effectLst>
        </p:spPr>
        <p:txBody>
          <a:bodyPr rot="0" spcFirstLastPara="0" vertOverflow="overflow" horzOverflow="overflow" vert="horz" wrap="square" lIns="45719" tIns="45719" rIns="4571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0" name="Овал 79">
            <a:extLst>
              <a:ext uri="{FF2B5EF4-FFF2-40B4-BE49-F238E27FC236}">
                <a16:creationId xmlns="" xmlns:a16="http://schemas.microsoft.com/office/drawing/2014/main" id="{4DE115EF-3E12-491F-AD23-92C4E17AC00C}"/>
              </a:ext>
            </a:extLst>
          </p:cNvPr>
          <p:cNvSpPr/>
          <p:nvPr/>
        </p:nvSpPr>
        <p:spPr>
          <a:xfrm>
            <a:off x="10994165" y="3002605"/>
            <a:ext cx="332398" cy="332398"/>
          </a:xfrm>
          <a:prstGeom prst="ellipse">
            <a:avLst/>
          </a:prstGeom>
          <a:solidFill>
            <a:srgbClr val="FFFFFF"/>
          </a:solidFill>
          <a:ln w="6350" cap="flat">
            <a:solidFill>
              <a:srgbClr val="4C3B21">
                <a:alpha val="17000"/>
              </a:srgbClr>
            </a:solidFill>
            <a:prstDash val="solid"/>
            <a:miter lim="800000"/>
          </a:ln>
          <a:effectLst>
            <a:outerShdw blurRad="304800" rotWithShape="0">
              <a:srgbClr val="6B522E">
                <a:alpha val="14000"/>
              </a:srgbClr>
            </a:outerShdw>
          </a:effectLst>
        </p:spPr>
        <p:txBody>
          <a:bodyPr rot="0" spcFirstLastPara="0" vertOverflow="overflow" horzOverflow="overflow" vert="horz" wrap="square" lIns="45719" tIns="45719" rIns="4571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21727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Прямоугольник 94">
            <a:extLst>
              <a:ext uri="{FF2B5EF4-FFF2-40B4-BE49-F238E27FC236}">
                <a16:creationId xmlns="" xmlns:a16="http://schemas.microsoft.com/office/drawing/2014/main" id="{FB734B07-5E0B-4C5A-B76A-8C0DC204ADA3}"/>
              </a:ext>
            </a:extLst>
          </p:cNvPr>
          <p:cNvSpPr/>
          <p:nvPr/>
        </p:nvSpPr>
        <p:spPr>
          <a:xfrm rot="5400000">
            <a:off x="4165081" y="3917544"/>
            <a:ext cx="822489" cy="107262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2">
                <a:lumMod val="25000"/>
                <a:alpha val="17000"/>
              </a:schemeClr>
            </a:solidFill>
          </a:ln>
          <a:effectLst>
            <a:outerShdw blurRad="304800" algn="ctr" rotWithShape="0">
              <a:schemeClr val="accent1">
                <a:lumMod val="50000"/>
                <a:alpha val="2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103" name="Прямоугольник 102">
            <a:extLst>
              <a:ext uri="{FF2B5EF4-FFF2-40B4-BE49-F238E27FC236}">
                <a16:creationId xmlns="" xmlns:a16="http://schemas.microsoft.com/office/drawing/2014/main" id="{00498E81-89C1-4EA3-A02A-FEA2D869EA76}"/>
              </a:ext>
            </a:extLst>
          </p:cNvPr>
          <p:cNvSpPr/>
          <p:nvPr/>
        </p:nvSpPr>
        <p:spPr>
          <a:xfrm rot="5400000">
            <a:off x="2939522" y="3917543"/>
            <a:ext cx="822490" cy="107262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2">
                <a:lumMod val="25000"/>
                <a:alpha val="17000"/>
              </a:schemeClr>
            </a:solidFill>
          </a:ln>
          <a:effectLst>
            <a:outerShdw blurRad="304800" algn="ctr" rotWithShape="0">
              <a:schemeClr val="accent1">
                <a:lumMod val="50000"/>
                <a:alpha val="2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/>
          </a:p>
        </p:txBody>
      </p:sp>
      <p:graphicFrame>
        <p:nvGraphicFramePr>
          <p:cNvPr id="40" name="Диаграмма 39">
            <a:extLst>
              <a:ext uri="{FF2B5EF4-FFF2-40B4-BE49-F238E27FC236}">
                <a16:creationId xmlns="" xmlns:a16="http://schemas.microsoft.com/office/drawing/2014/main" id="{6FD7A510-D155-4CD2-B71D-37E4AACAAE5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88416273"/>
              </p:ext>
            </p:extLst>
          </p:nvPr>
        </p:nvGraphicFramePr>
        <p:xfrm>
          <a:off x="2680472" y="3563256"/>
          <a:ext cx="2555671" cy="1383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114" name="Группа 113">
            <a:extLst>
              <a:ext uri="{FF2B5EF4-FFF2-40B4-BE49-F238E27FC236}">
                <a16:creationId xmlns="" xmlns:a16="http://schemas.microsoft.com/office/drawing/2014/main" id="{22AE81DE-D63B-4E89-A077-75A8BD6C3A69}"/>
              </a:ext>
            </a:extLst>
          </p:cNvPr>
          <p:cNvGrpSpPr/>
          <p:nvPr/>
        </p:nvGrpSpPr>
        <p:grpSpPr>
          <a:xfrm>
            <a:off x="5796539" y="1274286"/>
            <a:ext cx="5677307" cy="4982405"/>
            <a:chOff x="6276027" y="1373948"/>
            <a:chExt cx="4739532" cy="4982405"/>
          </a:xfrm>
        </p:grpSpPr>
        <p:sp>
          <p:nvSpPr>
            <p:cNvPr id="18" name="Прямоугольник 17">
              <a:extLst>
                <a:ext uri="{FF2B5EF4-FFF2-40B4-BE49-F238E27FC236}">
                  <a16:creationId xmlns="" xmlns:a16="http://schemas.microsoft.com/office/drawing/2014/main" id="{97BC1C18-CBA0-448E-A317-92D5C9281018}"/>
                </a:ext>
              </a:extLst>
            </p:cNvPr>
            <p:cNvSpPr/>
            <p:nvPr/>
          </p:nvSpPr>
          <p:spPr>
            <a:xfrm rot="5400000">
              <a:off x="4933533" y="2716442"/>
              <a:ext cx="4982404" cy="2297415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accent2">
                  <a:lumMod val="25000"/>
                  <a:alpha val="17000"/>
                </a:schemeClr>
              </a:solidFill>
            </a:ln>
            <a:effectLst>
              <a:outerShdw blurRad="304800" algn="ctr" rotWithShape="0">
                <a:schemeClr val="accent1">
                  <a:lumMod val="50000"/>
                  <a:alpha val="28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dirty="0"/>
            </a:p>
          </p:txBody>
        </p:sp>
        <p:sp>
          <p:nvSpPr>
            <p:cNvPr id="113" name="Прямоугольник 112">
              <a:extLst>
                <a:ext uri="{FF2B5EF4-FFF2-40B4-BE49-F238E27FC236}">
                  <a16:creationId xmlns="" xmlns:a16="http://schemas.microsoft.com/office/drawing/2014/main" id="{7A2D8AF6-27CF-41B7-81C7-AE7543A9B68C}"/>
                </a:ext>
              </a:extLst>
            </p:cNvPr>
            <p:cNvSpPr/>
            <p:nvPr/>
          </p:nvSpPr>
          <p:spPr>
            <a:xfrm rot="5400000">
              <a:off x="7375650" y="2716443"/>
              <a:ext cx="4982404" cy="2297415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accent2">
                  <a:lumMod val="25000"/>
                  <a:alpha val="17000"/>
                </a:schemeClr>
              </a:solidFill>
            </a:ln>
            <a:effectLst>
              <a:outerShdw blurRad="304800" algn="ctr" rotWithShape="0">
                <a:schemeClr val="accent1">
                  <a:lumMod val="50000"/>
                  <a:alpha val="28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dirty="0"/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ценка результатов реализации проектов</a:t>
            </a:r>
            <a:endParaRPr lang="ru-RU" b="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9439AD-A166-441A-9978-3BDD957F123B}" type="slidenum">
              <a:rPr lang="ru-RU" smtClean="0"/>
              <a:pPr/>
              <a:t>6</a:t>
            </a:fld>
            <a:endParaRPr lang="ru-RU"/>
          </a:p>
        </p:txBody>
      </p:sp>
      <p:sp>
        <p:nvSpPr>
          <p:cNvPr id="15" name="TextBox 14">
            <a:extLst>
              <a:ext uri="{FF2B5EF4-FFF2-40B4-BE49-F238E27FC236}">
                <a16:creationId xmlns="" xmlns:a16="http://schemas.microsoft.com/office/drawing/2014/main" id="{6F0EE951-0C7B-4510-AF81-1CAAA78B67B1}"/>
              </a:ext>
            </a:extLst>
          </p:cNvPr>
          <p:cNvSpPr txBox="1"/>
          <p:nvPr/>
        </p:nvSpPr>
        <p:spPr>
          <a:xfrm>
            <a:off x="2816957" y="5616955"/>
            <a:ext cx="111550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/>
            <a:r>
              <a:rPr lang="ru-RU" sz="2000" dirty="0">
                <a:solidFill>
                  <a:srgbClr val="413D3E"/>
                </a:solidFill>
              </a:rPr>
              <a:t>235 535</a:t>
            </a:r>
            <a:endParaRPr lang="ru-RU" sz="1600" dirty="0">
              <a:solidFill>
                <a:srgbClr val="44546A">
                  <a:lumMod val="75000"/>
                </a:srgbClr>
              </a:solidFill>
              <a:cs typeface="Times New Roman" panose="02020603050405020304" pitchFamily="18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="" xmlns:a16="http://schemas.microsoft.com/office/drawing/2014/main" id="{D3EDAEE1-ABA1-4D77-9488-6F351178A186}"/>
              </a:ext>
            </a:extLst>
          </p:cNvPr>
          <p:cNvSpPr txBox="1"/>
          <p:nvPr/>
        </p:nvSpPr>
        <p:spPr>
          <a:xfrm>
            <a:off x="806290" y="1868314"/>
            <a:ext cx="1796547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u="sng" dirty="0">
                <a:solidFill>
                  <a:srgbClr val="3C3837"/>
                </a:solidFill>
                <a:uFill>
                  <a:solidFill>
                    <a:srgbClr val="FFD415"/>
                  </a:solidFill>
                </a:uFill>
                <a:latin typeface="Calibri"/>
              </a:rPr>
              <a:t>Проектов поддержано 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="" xmlns:a16="http://schemas.microsoft.com/office/drawing/2014/main" id="{05FEF514-3C12-483E-9B35-A2F7DEC89AA5}"/>
              </a:ext>
            </a:extLst>
          </p:cNvPr>
          <p:cNvSpPr txBox="1"/>
          <p:nvPr/>
        </p:nvSpPr>
        <p:spPr>
          <a:xfrm>
            <a:off x="2769504" y="5004236"/>
            <a:ext cx="114022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000" dirty="0">
                <a:solidFill>
                  <a:srgbClr val="413D3E"/>
                </a:solidFill>
              </a:rPr>
              <a:t>15 556 </a:t>
            </a:r>
            <a:endParaRPr lang="ru-RU" sz="1600" dirty="0">
              <a:solidFill>
                <a:srgbClr val="44546A">
                  <a:lumMod val="75000"/>
                </a:srgbClr>
              </a:solidFill>
              <a:cs typeface="Times New Roman" panose="02020603050405020304" pitchFamily="18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F97AAD05-62A2-4E55-9FF9-2AAF84A7E76C}"/>
              </a:ext>
            </a:extLst>
          </p:cNvPr>
          <p:cNvSpPr txBox="1"/>
          <p:nvPr/>
        </p:nvSpPr>
        <p:spPr>
          <a:xfrm>
            <a:off x="4000006" y="5004237"/>
            <a:ext cx="114022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000" dirty="0">
                <a:solidFill>
                  <a:srgbClr val="413D3E"/>
                </a:solidFill>
              </a:rPr>
              <a:t>20 757</a:t>
            </a:r>
            <a:endParaRPr lang="ru-RU" sz="1600" dirty="0">
              <a:solidFill>
                <a:srgbClr val="44546A">
                  <a:lumMod val="75000"/>
                </a:srgbClr>
              </a:solidFill>
              <a:cs typeface="Times New Roman" panose="02020603050405020304" pitchFamily="18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="" xmlns:a16="http://schemas.microsoft.com/office/drawing/2014/main" id="{2D41B3C7-3EF0-4C62-95E0-581D7220D32F}"/>
              </a:ext>
            </a:extLst>
          </p:cNvPr>
          <p:cNvSpPr txBox="1"/>
          <p:nvPr/>
        </p:nvSpPr>
        <p:spPr>
          <a:xfrm>
            <a:off x="4012367" y="5616956"/>
            <a:ext cx="111550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/>
            <a:r>
              <a:rPr lang="ru-RU" sz="2000" dirty="0">
                <a:solidFill>
                  <a:srgbClr val="413D3E"/>
                </a:solidFill>
              </a:rPr>
              <a:t>349 715</a:t>
            </a:r>
            <a:endParaRPr lang="ru-RU" sz="1600" dirty="0">
              <a:solidFill>
                <a:srgbClr val="44546A">
                  <a:lumMod val="75000"/>
                </a:srgbClr>
              </a:solidFill>
              <a:cs typeface="Times New Roman" panose="02020603050405020304" pitchFamily="18" charset="0"/>
            </a:endParaRPr>
          </a:p>
        </p:txBody>
      </p:sp>
      <p:sp>
        <p:nvSpPr>
          <p:cNvPr id="22" name="Прямоугольник 21">
            <a:extLst>
              <a:ext uri="{FF2B5EF4-FFF2-40B4-BE49-F238E27FC236}">
                <a16:creationId xmlns="" xmlns:a16="http://schemas.microsoft.com/office/drawing/2014/main" id="{AF06BF40-C985-4383-91D3-E9B9A70A9660}"/>
              </a:ext>
            </a:extLst>
          </p:cNvPr>
          <p:cNvSpPr/>
          <p:nvPr/>
        </p:nvSpPr>
        <p:spPr>
          <a:xfrm>
            <a:off x="2804744" y="1242672"/>
            <a:ext cx="1139928" cy="513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sng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>
                  <a:solidFill>
                    <a:srgbClr val="FFD415"/>
                  </a:solidFill>
                </a:uFill>
                <a:latin typeface="Calibri"/>
                <a:ea typeface="+mn-ea"/>
                <a:cs typeface="+mn-cs"/>
              </a:rPr>
              <a:t>2017 </a:t>
            </a:r>
            <a:br>
              <a:rPr kumimoji="0" lang="ru-RU" sz="1600" b="1" i="0" u="sng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>
                  <a:solidFill>
                    <a:srgbClr val="FFD415"/>
                  </a:solidFill>
                </a:uFill>
                <a:latin typeface="Calibri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(2 конкурса) 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3C3837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38" name="Прямоугольник 37">
            <a:extLst>
              <a:ext uri="{FF2B5EF4-FFF2-40B4-BE49-F238E27FC236}">
                <a16:creationId xmlns="" xmlns:a16="http://schemas.microsoft.com/office/drawing/2014/main" id="{2A0DC20C-2FCF-4687-9EA1-DF2B5B1AEF47}"/>
              </a:ext>
            </a:extLst>
          </p:cNvPr>
          <p:cNvSpPr/>
          <p:nvPr/>
        </p:nvSpPr>
        <p:spPr>
          <a:xfrm>
            <a:off x="3976006" y="1242672"/>
            <a:ext cx="1140869" cy="513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sng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>
                  <a:solidFill>
                    <a:srgbClr val="FFD415"/>
                  </a:solidFill>
                </a:uFill>
                <a:latin typeface="Calibri"/>
                <a:ea typeface="+mn-ea"/>
                <a:cs typeface="+mn-cs"/>
              </a:rPr>
              <a:t>2018 </a:t>
            </a:r>
            <a:br>
              <a:rPr kumimoji="0" lang="ru-RU" sz="1600" b="1" i="0" u="sng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>
                  <a:solidFill>
                    <a:srgbClr val="FFD415"/>
                  </a:solidFill>
                </a:uFill>
                <a:latin typeface="Calibri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(2 конкурса) 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3C3837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="" xmlns:a16="http://schemas.microsoft.com/office/drawing/2014/main" id="{62E49061-0847-493B-845C-44EBA3FA6211}"/>
              </a:ext>
            </a:extLst>
          </p:cNvPr>
          <p:cNvSpPr txBox="1"/>
          <p:nvPr/>
        </p:nvSpPr>
        <p:spPr>
          <a:xfrm>
            <a:off x="806290" y="2581219"/>
            <a:ext cx="1796547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u="sng" dirty="0">
                <a:solidFill>
                  <a:srgbClr val="3C3837"/>
                </a:solidFill>
                <a:uFill>
                  <a:solidFill>
                    <a:srgbClr val="FFD415"/>
                  </a:solidFill>
                </a:uFill>
                <a:latin typeface="Calibri"/>
              </a:rPr>
              <a:t>Общая сумма грантов, </a:t>
            </a:r>
            <a:r>
              <a:rPr lang="ru-RU" sz="1600" dirty="0">
                <a:solidFill>
                  <a:srgbClr val="3C3837"/>
                </a:solidFill>
                <a:uFill>
                  <a:solidFill>
                    <a:srgbClr val="FFD415"/>
                  </a:solidFill>
                </a:uFill>
                <a:latin typeface="Calibri"/>
              </a:rPr>
              <a:t>млн ₽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="" xmlns:a16="http://schemas.microsoft.com/office/drawing/2014/main" id="{EC988D3F-5D88-41DC-A658-8E3229F7CB44}"/>
              </a:ext>
            </a:extLst>
          </p:cNvPr>
          <p:cNvSpPr txBox="1"/>
          <p:nvPr/>
        </p:nvSpPr>
        <p:spPr>
          <a:xfrm>
            <a:off x="533192" y="4161468"/>
            <a:ext cx="206964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u="sng" dirty="0">
                <a:solidFill>
                  <a:srgbClr val="3C3837"/>
                </a:solidFill>
                <a:uFill>
                  <a:solidFill>
                    <a:srgbClr val="FFD415"/>
                  </a:solidFill>
                </a:uFill>
                <a:latin typeface="Calibri"/>
              </a:rPr>
              <a:t>Проектов, </a:t>
            </a:r>
            <a:br>
              <a:rPr lang="ru-RU" sz="1600" b="1" u="sng" dirty="0">
                <a:solidFill>
                  <a:srgbClr val="3C3837"/>
                </a:solidFill>
                <a:uFill>
                  <a:solidFill>
                    <a:srgbClr val="FFD415"/>
                  </a:solidFill>
                </a:uFill>
                <a:latin typeface="Calibri"/>
              </a:rPr>
            </a:br>
            <a:r>
              <a:rPr lang="ru-RU" sz="1600" b="1" u="sng" dirty="0">
                <a:solidFill>
                  <a:srgbClr val="3C3837"/>
                </a:solidFill>
                <a:uFill>
                  <a:solidFill>
                    <a:srgbClr val="FFD415"/>
                  </a:solidFill>
                </a:uFill>
                <a:latin typeface="Calibri"/>
              </a:rPr>
              <a:t>прошедших оценку</a:t>
            </a:r>
            <a:endParaRPr lang="ru-RU" sz="1600" dirty="0">
              <a:solidFill>
                <a:srgbClr val="3C3837"/>
              </a:solidFill>
              <a:uFill>
                <a:solidFill>
                  <a:srgbClr val="FFD415"/>
                </a:solidFill>
              </a:uFill>
              <a:latin typeface="Calibri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="" xmlns:a16="http://schemas.microsoft.com/office/drawing/2014/main" id="{856A59FD-5496-4455-AFC8-C9753123C576}"/>
              </a:ext>
            </a:extLst>
          </p:cNvPr>
          <p:cNvSpPr txBox="1"/>
          <p:nvPr/>
        </p:nvSpPr>
        <p:spPr>
          <a:xfrm>
            <a:off x="533192" y="5027053"/>
            <a:ext cx="206964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u="sng" dirty="0">
                <a:solidFill>
                  <a:srgbClr val="3C3837"/>
                </a:solidFill>
                <a:uFill>
                  <a:solidFill>
                    <a:srgbClr val="FFD415"/>
                  </a:solidFill>
                </a:uFill>
                <a:latin typeface="Calibri"/>
              </a:rPr>
              <a:t>Оценок получено</a:t>
            </a:r>
            <a:endParaRPr lang="ru-RU" sz="1600" dirty="0">
              <a:solidFill>
                <a:srgbClr val="3C3837"/>
              </a:solidFill>
              <a:uFill>
                <a:solidFill>
                  <a:srgbClr val="FFD415"/>
                </a:solidFill>
              </a:uFill>
              <a:latin typeface="Calibri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="" xmlns:a16="http://schemas.microsoft.com/office/drawing/2014/main" id="{27B917A3-1D87-4D66-8E4B-9E6DCDDF2585}"/>
              </a:ext>
            </a:extLst>
          </p:cNvPr>
          <p:cNvSpPr txBox="1"/>
          <p:nvPr/>
        </p:nvSpPr>
        <p:spPr>
          <a:xfrm>
            <a:off x="372328" y="3325120"/>
            <a:ext cx="223051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u="sng" dirty="0" err="1">
                <a:solidFill>
                  <a:srgbClr val="3C3837"/>
                </a:solidFill>
                <a:uFill>
                  <a:solidFill>
                    <a:srgbClr val="FFD415"/>
                  </a:solidFill>
                </a:uFill>
                <a:latin typeface="Calibri"/>
              </a:rPr>
              <a:t>Софинансирование</a:t>
            </a:r>
            <a:r>
              <a:rPr lang="ru-RU" sz="1600" b="1" u="sng" dirty="0">
                <a:solidFill>
                  <a:srgbClr val="3C3837"/>
                </a:solidFill>
                <a:uFill>
                  <a:solidFill>
                    <a:srgbClr val="FFD415"/>
                  </a:solidFill>
                </a:uFill>
                <a:latin typeface="Calibri"/>
              </a:rPr>
              <a:t>,</a:t>
            </a:r>
            <a:br>
              <a:rPr lang="ru-RU" sz="1600" b="1" u="sng" dirty="0">
                <a:solidFill>
                  <a:srgbClr val="3C3837"/>
                </a:solidFill>
                <a:uFill>
                  <a:solidFill>
                    <a:srgbClr val="FFD415"/>
                  </a:solidFill>
                </a:uFill>
                <a:latin typeface="Calibri"/>
              </a:rPr>
            </a:br>
            <a:r>
              <a:rPr lang="ru-RU" sz="1600" dirty="0">
                <a:solidFill>
                  <a:srgbClr val="3C3837"/>
                </a:solidFill>
                <a:uFill>
                  <a:solidFill>
                    <a:srgbClr val="FFD415"/>
                  </a:solidFill>
                </a:uFill>
                <a:latin typeface="Calibri"/>
              </a:rPr>
              <a:t>млн ₽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="" xmlns:a16="http://schemas.microsoft.com/office/drawing/2014/main" id="{484D0D7F-77C3-4F6D-A63B-41C90A3AA435}"/>
              </a:ext>
            </a:extLst>
          </p:cNvPr>
          <p:cNvSpPr txBox="1"/>
          <p:nvPr/>
        </p:nvSpPr>
        <p:spPr>
          <a:xfrm>
            <a:off x="533192" y="5524623"/>
            <a:ext cx="206964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u="sng" dirty="0">
                <a:solidFill>
                  <a:srgbClr val="3C3837"/>
                </a:solidFill>
                <a:uFill>
                  <a:solidFill>
                    <a:srgbClr val="FFD415"/>
                  </a:solidFill>
                </a:uFill>
                <a:latin typeface="Calibri"/>
              </a:rPr>
              <a:t>Добровольцев привлечено </a:t>
            </a:r>
            <a:endParaRPr lang="ru-RU" sz="1600" dirty="0">
              <a:solidFill>
                <a:srgbClr val="3C3837"/>
              </a:solidFill>
              <a:uFill>
                <a:solidFill>
                  <a:srgbClr val="FFD415"/>
                </a:solidFill>
              </a:uFill>
              <a:latin typeface="Calibri"/>
            </a:endParaRPr>
          </a:p>
        </p:txBody>
      </p:sp>
      <p:graphicFrame>
        <p:nvGraphicFramePr>
          <p:cNvPr id="54" name="Диаграмма 53">
            <a:extLst>
              <a:ext uri="{FF2B5EF4-FFF2-40B4-BE49-F238E27FC236}">
                <a16:creationId xmlns="" xmlns:a16="http://schemas.microsoft.com/office/drawing/2014/main" id="{ECEB5D9F-CF92-4674-BA52-13B9B5F3F76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86425156"/>
              </p:ext>
            </p:extLst>
          </p:nvPr>
        </p:nvGraphicFramePr>
        <p:xfrm>
          <a:off x="5971197" y="1168334"/>
          <a:ext cx="2402672" cy="25241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6" name="Пятиугольник 5">
            <a:extLst>
              <a:ext uri="{FF2B5EF4-FFF2-40B4-BE49-F238E27FC236}">
                <a16:creationId xmlns="" xmlns:a16="http://schemas.microsoft.com/office/drawing/2014/main" id="{1A41800D-7EC9-4A0A-ACB1-38E03B627C2A}"/>
              </a:ext>
            </a:extLst>
          </p:cNvPr>
          <p:cNvSpPr/>
          <p:nvPr/>
        </p:nvSpPr>
        <p:spPr>
          <a:xfrm>
            <a:off x="6176800" y="5122264"/>
            <a:ext cx="1970722" cy="10341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rgbClr val="FFD415"/>
              </a:buClr>
            </a:pPr>
            <a:r>
              <a:rPr lang="ru-RU" sz="2800" b="1" dirty="0">
                <a:solidFill>
                  <a:srgbClr val="413D3E"/>
                </a:solidFill>
              </a:rPr>
              <a:t>82 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ea typeface="+mn-ea"/>
                <a:cs typeface="Times New Roman" panose="02020603050405020304" pitchFamily="18" charset="0"/>
              </a:rPr>
              <a:t>(2,6%) </a:t>
            </a:r>
            <a:r>
              <a:rPr lang="ru-RU" sz="2000" dirty="0">
                <a:solidFill>
                  <a:srgbClr val="44546A">
                    <a:lumMod val="75000"/>
                  </a:srgbClr>
                </a:solidFill>
                <a:cs typeface="Times New Roman" panose="02020603050405020304" pitchFamily="18" charset="0"/>
              </a:rPr>
              <a:t>неудовлетвори-тельно</a:t>
            </a:r>
          </a:p>
        </p:txBody>
      </p:sp>
      <p:sp>
        <p:nvSpPr>
          <p:cNvPr id="64" name="Пятиугольник 5">
            <a:extLst>
              <a:ext uri="{FF2B5EF4-FFF2-40B4-BE49-F238E27FC236}">
                <a16:creationId xmlns="" xmlns:a16="http://schemas.microsoft.com/office/drawing/2014/main" id="{0A32F2F8-12CC-4049-8751-CAE2BA65E9D5}"/>
              </a:ext>
            </a:extLst>
          </p:cNvPr>
          <p:cNvSpPr/>
          <p:nvPr/>
        </p:nvSpPr>
        <p:spPr>
          <a:xfrm>
            <a:off x="6176801" y="4331527"/>
            <a:ext cx="2603914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rgbClr val="FFD415"/>
              </a:buClr>
            </a:pPr>
            <a:r>
              <a:rPr lang="ru-RU" sz="2800" b="1" dirty="0">
                <a:solidFill>
                  <a:srgbClr val="413D3E"/>
                </a:solidFill>
              </a:rPr>
              <a:t>557 </a:t>
            </a:r>
            <a:r>
              <a:rPr lang="ru-RU" sz="2000" dirty="0">
                <a:solidFill>
                  <a:srgbClr val="44546A">
                    <a:lumMod val="75000"/>
                  </a:srgbClr>
                </a:solidFill>
                <a:cs typeface="Times New Roman" panose="02020603050405020304" pitchFamily="18" charset="0"/>
              </a:rPr>
              <a:t>(17,5%) удовлетворительно</a:t>
            </a:r>
          </a:p>
        </p:txBody>
      </p:sp>
      <p:sp>
        <p:nvSpPr>
          <p:cNvPr id="66" name="Пятиугольник 5">
            <a:extLst>
              <a:ext uri="{FF2B5EF4-FFF2-40B4-BE49-F238E27FC236}">
                <a16:creationId xmlns="" xmlns:a16="http://schemas.microsoft.com/office/drawing/2014/main" id="{A3CDF80F-602C-401C-9E7E-881A683B082B}"/>
              </a:ext>
            </a:extLst>
          </p:cNvPr>
          <p:cNvSpPr/>
          <p:nvPr/>
        </p:nvSpPr>
        <p:spPr>
          <a:xfrm>
            <a:off x="6176799" y="3556616"/>
            <a:ext cx="2603913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rgbClr val="FFD415"/>
              </a:buClr>
            </a:pPr>
            <a:r>
              <a:rPr lang="ru-RU" sz="2800" b="1" dirty="0">
                <a:solidFill>
                  <a:srgbClr val="413D3E"/>
                </a:solidFill>
              </a:rPr>
              <a:t>2 539 </a:t>
            </a:r>
            <a:r>
              <a:rPr lang="ru-RU" sz="2000" dirty="0">
                <a:solidFill>
                  <a:srgbClr val="44546A">
                    <a:lumMod val="75000"/>
                  </a:srgbClr>
                </a:solidFill>
                <a:cs typeface="Times New Roman" panose="02020603050405020304" pitchFamily="18" charset="0"/>
              </a:rPr>
              <a:t>(79,9%) успешно</a:t>
            </a:r>
          </a:p>
        </p:txBody>
      </p:sp>
      <p:graphicFrame>
        <p:nvGraphicFramePr>
          <p:cNvPr id="76" name="Диаграмма 75">
            <a:extLst>
              <a:ext uri="{FF2B5EF4-FFF2-40B4-BE49-F238E27FC236}">
                <a16:creationId xmlns="" xmlns:a16="http://schemas.microsoft.com/office/drawing/2014/main" id="{EA9D394B-3A36-4D7A-AAA0-3C4209B528B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97083335"/>
              </p:ext>
            </p:extLst>
          </p:nvPr>
        </p:nvGraphicFramePr>
        <p:xfrm>
          <a:off x="8927510" y="1165325"/>
          <a:ext cx="2479982" cy="25241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9" name="Овал 88">
            <a:extLst>
              <a:ext uri="{FF2B5EF4-FFF2-40B4-BE49-F238E27FC236}">
                <a16:creationId xmlns="" xmlns:a16="http://schemas.microsoft.com/office/drawing/2014/main" id="{2C100C2A-346A-4568-9EA0-EBAF33496DF6}"/>
              </a:ext>
            </a:extLst>
          </p:cNvPr>
          <p:cNvSpPr/>
          <p:nvPr/>
        </p:nvSpPr>
        <p:spPr>
          <a:xfrm>
            <a:off x="5984364" y="5257612"/>
            <a:ext cx="190758" cy="190758"/>
          </a:xfrm>
          <a:prstGeom prst="ellipse">
            <a:avLst/>
          </a:prstGeom>
          <a:ln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 dirty="0"/>
          </a:p>
        </p:txBody>
      </p:sp>
      <p:sp>
        <p:nvSpPr>
          <p:cNvPr id="90" name="Овал 89">
            <a:extLst>
              <a:ext uri="{FF2B5EF4-FFF2-40B4-BE49-F238E27FC236}">
                <a16:creationId xmlns="" xmlns:a16="http://schemas.microsoft.com/office/drawing/2014/main" id="{4C66B548-1AD6-48E1-AAD5-8EE0BC66F2EC}"/>
              </a:ext>
            </a:extLst>
          </p:cNvPr>
          <p:cNvSpPr/>
          <p:nvPr/>
        </p:nvSpPr>
        <p:spPr>
          <a:xfrm>
            <a:off x="5984364" y="4478523"/>
            <a:ext cx="190758" cy="190758"/>
          </a:xfrm>
          <a:prstGeom prst="ellipse">
            <a:avLst/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 dirty="0"/>
          </a:p>
        </p:txBody>
      </p:sp>
      <p:sp>
        <p:nvSpPr>
          <p:cNvPr id="91" name="Овал 90">
            <a:extLst>
              <a:ext uri="{FF2B5EF4-FFF2-40B4-BE49-F238E27FC236}">
                <a16:creationId xmlns="" xmlns:a16="http://schemas.microsoft.com/office/drawing/2014/main" id="{7EB82602-2D9F-4072-A888-4DF77639E27C}"/>
              </a:ext>
            </a:extLst>
          </p:cNvPr>
          <p:cNvSpPr/>
          <p:nvPr/>
        </p:nvSpPr>
        <p:spPr>
          <a:xfrm>
            <a:off x="5984364" y="3688392"/>
            <a:ext cx="190758" cy="190758"/>
          </a:xfrm>
          <a:prstGeom prst="ellipse">
            <a:avLst/>
          </a:prstGeom>
          <a:gradFill>
            <a:gsLst>
              <a:gs pos="0">
                <a:srgbClr val="93C3A0"/>
              </a:gs>
              <a:gs pos="100000">
                <a:srgbClr val="60A772"/>
              </a:gs>
            </a:gsLst>
          </a:gradFill>
          <a:ln>
            <a:solidFill>
              <a:srgbClr val="93C3A0"/>
            </a:solidFill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 dirty="0"/>
          </a:p>
        </p:txBody>
      </p:sp>
      <p:sp>
        <p:nvSpPr>
          <p:cNvPr id="121" name="Пятиугольник 5">
            <a:extLst>
              <a:ext uri="{FF2B5EF4-FFF2-40B4-BE49-F238E27FC236}">
                <a16:creationId xmlns="" xmlns:a16="http://schemas.microsoft.com/office/drawing/2014/main" id="{86EE7DAD-2F02-4F26-B6A5-F5B3065AEBAC}"/>
              </a:ext>
            </a:extLst>
          </p:cNvPr>
          <p:cNvSpPr/>
          <p:nvPr/>
        </p:nvSpPr>
        <p:spPr>
          <a:xfrm>
            <a:off x="9072400" y="5122264"/>
            <a:ext cx="1970722" cy="10341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rgbClr val="FFD415"/>
              </a:buClr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92 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Times New Roman" panose="02020603050405020304" pitchFamily="18" charset="0"/>
              </a:rPr>
              <a:t>(2,6%) </a:t>
            </a:r>
            <a:r>
              <a:rPr lang="ru-RU" sz="2000" dirty="0">
                <a:solidFill>
                  <a:srgbClr val="44546A">
                    <a:lumMod val="75000"/>
                  </a:srgbClr>
                </a:solidFill>
                <a:cs typeface="Times New Roman" panose="02020603050405020304" pitchFamily="18" charset="0"/>
              </a:rPr>
              <a:t>неудовлетвори-тельно</a:t>
            </a:r>
          </a:p>
        </p:txBody>
      </p:sp>
      <p:sp>
        <p:nvSpPr>
          <p:cNvPr id="122" name="Пятиугольник 5">
            <a:extLst>
              <a:ext uri="{FF2B5EF4-FFF2-40B4-BE49-F238E27FC236}">
                <a16:creationId xmlns="" xmlns:a16="http://schemas.microsoft.com/office/drawing/2014/main" id="{7A65C299-6122-4111-BDEB-464588485DA4}"/>
              </a:ext>
            </a:extLst>
          </p:cNvPr>
          <p:cNvSpPr/>
          <p:nvPr/>
        </p:nvSpPr>
        <p:spPr>
          <a:xfrm>
            <a:off x="9072401" y="4331527"/>
            <a:ext cx="2603914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rgbClr val="FFD415"/>
              </a:buClr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630 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Times New Roman" panose="02020603050405020304" pitchFamily="18" charset="0"/>
              </a:rPr>
              <a:t>(17,9%) </a:t>
            </a:r>
            <a:r>
              <a:rPr lang="ru-RU" sz="2000" dirty="0">
                <a:solidFill>
                  <a:srgbClr val="44546A">
                    <a:lumMod val="75000"/>
                  </a:srgbClr>
                </a:solidFill>
                <a:cs typeface="Times New Roman" panose="02020603050405020304" pitchFamily="18" charset="0"/>
              </a:rPr>
              <a:t>удовлетворительно</a:t>
            </a:r>
          </a:p>
        </p:txBody>
      </p:sp>
      <p:sp>
        <p:nvSpPr>
          <p:cNvPr id="123" name="Пятиугольник 5">
            <a:extLst>
              <a:ext uri="{FF2B5EF4-FFF2-40B4-BE49-F238E27FC236}">
                <a16:creationId xmlns="" xmlns:a16="http://schemas.microsoft.com/office/drawing/2014/main" id="{C24E9F98-E947-4669-9557-FE40A6DEA3AC}"/>
              </a:ext>
            </a:extLst>
          </p:cNvPr>
          <p:cNvSpPr/>
          <p:nvPr/>
        </p:nvSpPr>
        <p:spPr>
          <a:xfrm>
            <a:off x="9072399" y="3556616"/>
            <a:ext cx="2603913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rgbClr val="FFD415"/>
              </a:buClr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 804 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Times New Roman" panose="02020603050405020304" pitchFamily="18" charset="0"/>
              </a:rPr>
              <a:t>(79,5%) </a:t>
            </a:r>
            <a:r>
              <a:rPr lang="ru-RU" sz="2000" dirty="0">
                <a:solidFill>
                  <a:srgbClr val="44546A">
                    <a:lumMod val="75000"/>
                  </a:srgbClr>
                </a:solidFill>
                <a:cs typeface="Times New Roman" panose="02020603050405020304" pitchFamily="18" charset="0"/>
              </a:rPr>
              <a:t>успешно</a:t>
            </a:r>
          </a:p>
        </p:txBody>
      </p:sp>
      <p:sp>
        <p:nvSpPr>
          <p:cNvPr id="124" name="Овал 123">
            <a:extLst>
              <a:ext uri="{FF2B5EF4-FFF2-40B4-BE49-F238E27FC236}">
                <a16:creationId xmlns="" xmlns:a16="http://schemas.microsoft.com/office/drawing/2014/main" id="{F5A79737-7343-4D2D-9252-37AE3E6B86C6}"/>
              </a:ext>
            </a:extLst>
          </p:cNvPr>
          <p:cNvSpPr/>
          <p:nvPr/>
        </p:nvSpPr>
        <p:spPr>
          <a:xfrm>
            <a:off x="8879964" y="5257612"/>
            <a:ext cx="190758" cy="190758"/>
          </a:xfrm>
          <a:prstGeom prst="ellipse">
            <a:avLst/>
          </a:prstGeom>
          <a:ln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 dirty="0"/>
          </a:p>
        </p:txBody>
      </p:sp>
      <p:sp>
        <p:nvSpPr>
          <p:cNvPr id="125" name="Овал 124">
            <a:extLst>
              <a:ext uri="{FF2B5EF4-FFF2-40B4-BE49-F238E27FC236}">
                <a16:creationId xmlns="" xmlns:a16="http://schemas.microsoft.com/office/drawing/2014/main" id="{D1AE09AE-EA84-419C-83BB-F07439BE0227}"/>
              </a:ext>
            </a:extLst>
          </p:cNvPr>
          <p:cNvSpPr/>
          <p:nvPr/>
        </p:nvSpPr>
        <p:spPr>
          <a:xfrm>
            <a:off x="8879964" y="4478523"/>
            <a:ext cx="190758" cy="190758"/>
          </a:xfrm>
          <a:prstGeom prst="ellipse">
            <a:avLst/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 dirty="0"/>
          </a:p>
        </p:txBody>
      </p:sp>
      <p:sp>
        <p:nvSpPr>
          <p:cNvPr id="126" name="Овал 125">
            <a:extLst>
              <a:ext uri="{FF2B5EF4-FFF2-40B4-BE49-F238E27FC236}">
                <a16:creationId xmlns="" xmlns:a16="http://schemas.microsoft.com/office/drawing/2014/main" id="{46FA5B93-8B8B-4E67-81BF-553F1F020022}"/>
              </a:ext>
            </a:extLst>
          </p:cNvPr>
          <p:cNvSpPr/>
          <p:nvPr/>
        </p:nvSpPr>
        <p:spPr>
          <a:xfrm>
            <a:off x="8879964" y="3688392"/>
            <a:ext cx="190758" cy="190758"/>
          </a:xfrm>
          <a:prstGeom prst="ellipse">
            <a:avLst/>
          </a:prstGeom>
          <a:gradFill>
            <a:gsLst>
              <a:gs pos="0">
                <a:srgbClr val="93C3A0"/>
              </a:gs>
              <a:gs pos="100000">
                <a:srgbClr val="60A772"/>
              </a:gs>
            </a:gsLst>
          </a:gradFill>
          <a:ln>
            <a:solidFill>
              <a:srgbClr val="93C3A0"/>
            </a:solidFill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 dirty="0"/>
          </a:p>
        </p:txBody>
      </p:sp>
      <p:sp>
        <p:nvSpPr>
          <p:cNvPr id="129" name="Прямоугольник 128">
            <a:extLst>
              <a:ext uri="{FF2B5EF4-FFF2-40B4-BE49-F238E27FC236}">
                <a16:creationId xmlns="" xmlns:a16="http://schemas.microsoft.com/office/drawing/2014/main" id="{C9979937-2C7C-4F23-8D54-0C656C1791C6}"/>
              </a:ext>
            </a:extLst>
          </p:cNvPr>
          <p:cNvSpPr/>
          <p:nvPr/>
        </p:nvSpPr>
        <p:spPr>
          <a:xfrm>
            <a:off x="6611417" y="2179330"/>
            <a:ext cx="1139928" cy="513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sng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>
                  <a:solidFill>
                    <a:srgbClr val="FFD415"/>
                  </a:solidFill>
                </a:uFill>
                <a:latin typeface="Calibri"/>
                <a:ea typeface="+mn-ea"/>
                <a:cs typeface="+mn-cs"/>
              </a:rPr>
              <a:t>2017 </a:t>
            </a:r>
            <a:br>
              <a:rPr kumimoji="0" lang="ru-RU" sz="1600" b="1" i="0" u="sng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>
                  <a:solidFill>
                    <a:srgbClr val="FFD415"/>
                  </a:solidFill>
                </a:uFill>
                <a:latin typeface="Calibri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(2 конкурса) 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3C3837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30" name="Прямоугольник 129">
            <a:extLst>
              <a:ext uri="{FF2B5EF4-FFF2-40B4-BE49-F238E27FC236}">
                <a16:creationId xmlns="" xmlns:a16="http://schemas.microsoft.com/office/drawing/2014/main" id="{CC8B357F-6CA5-42B2-A840-A818F6FC290C}"/>
              </a:ext>
            </a:extLst>
          </p:cNvPr>
          <p:cNvSpPr/>
          <p:nvPr/>
        </p:nvSpPr>
        <p:spPr>
          <a:xfrm>
            <a:off x="9597066" y="2179330"/>
            <a:ext cx="1140869" cy="513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sng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>
                  <a:solidFill>
                    <a:srgbClr val="FFD415"/>
                  </a:solidFill>
                </a:uFill>
                <a:latin typeface="Calibri"/>
                <a:ea typeface="+mn-ea"/>
                <a:cs typeface="+mn-cs"/>
              </a:rPr>
              <a:t>2018 </a:t>
            </a:r>
            <a:br>
              <a:rPr kumimoji="0" lang="ru-RU" sz="1600" b="1" i="0" u="sng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>
                  <a:solidFill>
                    <a:srgbClr val="FFD415"/>
                  </a:solidFill>
                </a:uFill>
                <a:latin typeface="Calibri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(2 конкурса) 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3C3837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31" name="TextBox 130">
            <a:extLst>
              <a:ext uri="{FF2B5EF4-FFF2-40B4-BE49-F238E27FC236}">
                <a16:creationId xmlns="" xmlns:a16="http://schemas.microsoft.com/office/drawing/2014/main" id="{A56A25F8-33B2-4BBA-AFFB-4F12C147CB09}"/>
              </a:ext>
            </a:extLst>
          </p:cNvPr>
          <p:cNvSpPr txBox="1"/>
          <p:nvPr/>
        </p:nvSpPr>
        <p:spPr>
          <a:xfrm>
            <a:off x="2769504" y="3394912"/>
            <a:ext cx="114022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fld id="{A9D0B512-428F-4E84-B51A-C91E3BE0FBC1}" type="VALUE">
              <a:rPr lang="en-US" sz="2000" smtClean="0"/>
              <a:pPr/>
              <a:t>4 236</a:t>
            </a:fld>
            <a:endParaRPr lang="ru-RU" sz="1600" dirty="0">
              <a:solidFill>
                <a:srgbClr val="44546A">
                  <a:lumMod val="75000"/>
                </a:srgbClr>
              </a:solidFill>
              <a:cs typeface="Times New Roman" panose="02020603050405020304" pitchFamily="18" charset="0"/>
            </a:endParaRPr>
          </a:p>
        </p:txBody>
      </p:sp>
      <p:sp>
        <p:nvSpPr>
          <p:cNvPr id="132" name="TextBox 131">
            <a:extLst>
              <a:ext uri="{FF2B5EF4-FFF2-40B4-BE49-F238E27FC236}">
                <a16:creationId xmlns="" xmlns:a16="http://schemas.microsoft.com/office/drawing/2014/main" id="{8397D5C7-2887-4B22-AA95-0E9AB22EE0AD}"/>
              </a:ext>
            </a:extLst>
          </p:cNvPr>
          <p:cNvSpPr txBox="1"/>
          <p:nvPr/>
        </p:nvSpPr>
        <p:spPr>
          <a:xfrm>
            <a:off x="4000006" y="3394913"/>
            <a:ext cx="114022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000" dirty="0">
                <a:solidFill>
                  <a:srgbClr val="413D3E"/>
                </a:solidFill>
              </a:rPr>
              <a:t>5 884</a:t>
            </a:r>
            <a:endParaRPr lang="ru-RU" sz="1600" dirty="0">
              <a:solidFill>
                <a:srgbClr val="44546A">
                  <a:lumMod val="75000"/>
                </a:srgbClr>
              </a:solidFill>
              <a:cs typeface="Times New Roman" panose="02020603050405020304" pitchFamily="18" charset="0"/>
            </a:endParaRPr>
          </a:p>
        </p:txBody>
      </p:sp>
      <p:sp>
        <p:nvSpPr>
          <p:cNvPr id="133" name="TextBox 132">
            <a:extLst>
              <a:ext uri="{FF2B5EF4-FFF2-40B4-BE49-F238E27FC236}">
                <a16:creationId xmlns="" xmlns:a16="http://schemas.microsoft.com/office/drawing/2014/main" id="{AEBC6756-3B02-48F3-9567-D637CEC2DCB6}"/>
              </a:ext>
            </a:extLst>
          </p:cNvPr>
          <p:cNvSpPr txBox="1"/>
          <p:nvPr/>
        </p:nvSpPr>
        <p:spPr>
          <a:xfrm>
            <a:off x="2769504" y="2687239"/>
            <a:ext cx="114022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dirty="0"/>
              <a:t>6 65</a:t>
            </a:r>
            <a:r>
              <a:rPr lang="ru-RU" sz="2000" dirty="0"/>
              <a:t>4</a:t>
            </a:r>
            <a:endParaRPr lang="ru-RU" sz="1600" dirty="0">
              <a:solidFill>
                <a:srgbClr val="44546A">
                  <a:lumMod val="75000"/>
                </a:srgbClr>
              </a:solidFill>
              <a:cs typeface="Times New Roman" panose="02020603050405020304" pitchFamily="18" charset="0"/>
            </a:endParaRPr>
          </a:p>
        </p:txBody>
      </p:sp>
      <p:sp>
        <p:nvSpPr>
          <p:cNvPr id="134" name="TextBox 133">
            <a:extLst>
              <a:ext uri="{FF2B5EF4-FFF2-40B4-BE49-F238E27FC236}">
                <a16:creationId xmlns="" xmlns:a16="http://schemas.microsoft.com/office/drawing/2014/main" id="{24EBE473-19F1-440C-9827-CA293ED4D96D}"/>
              </a:ext>
            </a:extLst>
          </p:cNvPr>
          <p:cNvSpPr txBox="1"/>
          <p:nvPr/>
        </p:nvSpPr>
        <p:spPr>
          <a:xfrm>
            <a:off x="4000006" y="2687240"/>
            <a:ext cx="114022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000" dirty="0">
                <a:solidFill>
                  <a:srgbClr val="413D3E"/>
                </a:solidFill>
              </a:rPr>
              <a:t>7 836</a:t>
            </a:r>
            <a:endParaRPr lang="ru-RU" sz="1600" dirty="0">
              <a:solidFill>
                <a:srgbClr val="44546A">
                  <a:lumMod val="75000"/>
                </a:srgbClr>
              </a:solidFill>
              <a:cs typeface="Times New Roman" panose="02020603050405020304" pitchFamily="18" charset="0"/>
            </a:endParaRPr>
          </a:p>
        </p:txBody>
      </p:sp>
      <p:sp>
        <p:nvSpPr>
          <p:cNvPr id="135" name="TextBox 134">
            <a:extLst>
              <a:ext uri="{FF2B5EF4-FFF2-40B4-BE49-F238E27FC236}">
                <a16:creationId xmlns="" xmlns:a16="http://schemas.microsoft.com/office/drawing/2014/main" id="{D2005628-B601-4BB1-B7F4-D304C59458EF}"/>
              </a:ext>
            </a:extLst>
          </p:cNvPr>
          <p:cNvSpPr txBox="1"/>
          <p:nvPr/>
        </p:nvSpPr>
        <p:spPr>
          <a:xfrm>
            <a:off x="2769504" y="1958909"/>
            <a:ext cx="114022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dirty="0"/>
              <a:t>3 213</a:t>
            </a:r>
          </a:p>
        </p:txBody>
      </p:sp>
      <p:sp>
        <p:nvSpPr>
          <p:cNvPr id="136" name="TextBox 135">
            <a:extLst>
              <a:ext uri="{FF2B5EF4-FFF2-40B4-BE49-F238E27FC236}">
                <a16:creationId xmlns="" xmlns:a16="http://schemas.microsoft.com/office/drawing/2014/main" id="{48A309D5-791E-41E2-824A-85A412300440}"/>
              </a:ext>
            </a:extLst>
          </p:cNvPr>
          <p:cNvSpPr txBox="1"/>
          <p:nvPr/>
        </p:nvSpPr>
        <p:spPr>
          <a:xfrm>
            <a:off x="4000006" y="1958910"/>
            <a:ext cx="114022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000" dirty="0">
                <a:solidFill>
                  <a:srgbClr val="413D3E"/>
                </a:solidFill>
              </a:rPr>
              <a:t>3 573</a:t>
            </a:r>
            <a:endParaRPr lang="ru-RU" sz="1600" dirty="0">
              <a:solidFill>
                <a:srgbClr val="44546A">
                  <a:lumMod val="75000"/>
                </a:srgbClr>
              </a:solidFill>
              <a:cs typeface="Times New Roman" panose="02020603050405020304" pitchFamily="18" charset="0"/>
            </a:endParaRPr>
          </a:p>
        </p:txBody>
      </p:sp>
      <p:cxnSp>
        <p:nvCxnSpPr>
          <p:cNvPr id="137" name="Прямая соединительная линия 136">
            <a:extLst>
              <a:ext uri="{FF2B5EF4-FFF2-40B4-BE49-F238E27FC236}">
                <a16:creationId xmlns="" xmlns:a16="http://schemas.microsoft.com/office/drawing/2014/main" id="{75ECDCB8-0BC3-4A46-B6B1-05AE586159DC}"/>
              </a:ext>
            </a:extLst>
          </p:cNvPr>
          <p:cNvCxnSpPr>
            <a:cxnSpLocks/>
          </p:cNvCxnSpPr>
          <p:nvPr/>
        </p:nvCxnSpPr>
        <p:spPr>
          <a:xfrm flipV="1">
            <a:off x="3954306" y="1326994"/>
            <a:ext cx="0" cy="4815857"/>
          </a:xfrm>
          <a:prstGeom prst="line">
            <a:avLst/>
          </a:prstGeom>
          <a:noFill/>
          <a:ln w="31750" cap="rnd">
            <a:solidFill>
              <a:schemeClr val="accent5"/>
            </a:solidFill>
            <a:prstDash val="sysDot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39" name="Прямая соединительная линия 138">
            <a:extLst>
              <a:ext uri="{FF2B5EF4-FFF2-40B4-BE49-F238E27FC236}">
                <a16:creationId xmlns="" xmlns:a16="http://schemas.microsoft.com/office/drawing/2014/main" id="{9324DB98-E518-4B1A-93FF-B119A480B159}"/>
              </a:ext>
            </a:extLst>
          </p:cNvPr>
          <p:cNvCxnSpPr>
            <a:cxnSpLocks/>
          </p:cNvCxnSpPr>
          <p:nvPr/>
        </p:nvCxnSpPr>
        <p:spPr>
          <a:xfrm>
            <a:off x="693019" y="2528396"/>
            <a:ext cx="4434450" cy="0"/>
          </a:xfrm>
          <a:prstGeom prst="line">
            <a:avLst/>
          </a:prstGeom>
          <a:noFill/>
          <a:ln w="12700" cap="rnd">
            <a:solidFill>
              <a:schemeClr val="bg1">
                <a:lumMod val="50000"/>
              </a:schemeClr>
            </a:solidFill>
            <a:prstDash val="sysDot"/>
            <a:round/>
            <a:headEnd type="none"/>
            <a:tailEnd type="none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43" name="Прямая соединительная линия 142">
            <a:extLst>
              <a:ext uri="{FF2B5EF4-FFF2-40B4-BE49-F238E27FC236}">
                <a16:creationId xmlns="" xmlns:a16="http://schemas.microsoft.com/office/drawing/2014/main" id="{D02964C1-7D6B-4202-A7DC-C0A9061B3BE4}"/>
              </a:ext>
            </a:extLst>
          </p:cNvPr>
          <p:cNvCxnSpPr>
            <a:cxnSpLocks/>
          </p:cNvCxnSpPr>
          <p:nvPr/>
        </p:nvCxnSpPr>
        <p:spPr>
          <a:xfrm>
            <a:off x="693019" y="3259916"/>
            <a:ext cx="4434450" cy="0"/>
          </a:xfrm>
          <a:prstGeom prst="line">
            <a:avLst/>
          </a:prstGeom>
          <a:noFill/>
          <a:ln w="12700" cap="rnd">
            <a:solidFill>
              <a:schemeClr val="bg1">
                <a:lumMod val="50000"/>
              </a:schemeClr>
            </a:solidFill>
            <a:prstDash val="sysDot"/>
            <a:round/>
            <a:headEnd type="none"/>
            <a:tailEnd type="none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47" name="Прямая соединительная линия 146">
            <a:extLst>
              <a:ext uri="{FF2B5EF4-FFF2-40B4-BE49-F238E27FC236}">
                <a16:creationId xmlns="" xmlns:a16="http://schemas.microsoft.com/office/drawing/2014/main" id="{FE4C5120-3922-4E17-93D9-7C8217C82147}"/>
              </a:ext>
            </a:extLst>
          </p:cNvPr>
          <p:cNvCxnSpPr>
            <a:cxnSpLocks/>
          </p:cNvCxnSpPr>
          <p:nvPr/>
        </p:nvCxnSpPr>
        <p:spPr>
          <a:xfrm>
            <a:off x="693019" y="3962560"/>
            <a:ext cx="4434450" cy="0"/>
          </a:xfrm>
          <a:prstGeom prst="line">
            <a:avLst/>
          </a:prstGeom>
          <a:noFill/>
          <a:ln w="12700" cap="rnd">
            <a:solidFill>
              <a:schemeClr val="bg1">
                <a:lumMod val="50000"/>
              </a:schemeClr>
            </a:solidFill>
            <a:prstDash val="sysDot"/>
            <a:round/>
            <a:headEnd type="none"/>
            <a:tailEnd type="none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48" name="Прямая соединительная линия 147">
            <a:extLst>
              <a:ext uri="{FF2B5EF4-FFF2-40B4-BE49-F238E27FC236}">
                <a16:creationId xmlns="" xmlns:a16="http://schemas.microsoft.com/office/drawing/2014/main" id="{6A6D101E-6EDE-42EB-9000-B42485ED968F}"/>
              </a:ext>
            </a:extLst>
          </p:cNvPr>
          <p:cNvCxnSpPr>
            <a:cxnSpLocks/>
          </p:cNvCxnSpPr>
          <p:nvPr/>
        </p:nvCxnSpPr>
        <p:spPr>
          <a:xfrm>
            <a:off x="693019" y="4925087"/>
            <a:ext cx="4434450" cy="0"/>
          </a:xfrm>
          <a:prstGeom prst="line">
            <a:avLst/>
          </a:prstGeom>
          <a:noFill/>
          <a:ln w="12700" cap="rnd">
            <a:solidFill>
              <a:schemeClr val="bg1">
                <a:lumMod val="50000"/>
              </a:schemeClr>
            </a:solidFill>
            <a:prstDash val="sysDot"/>
            <a:round/>
            <a:headEnd type="none"/>
            <a:tailEnd type="none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49" name="Прямая соединительная линия 148">
            <a:extLst>
              <a:ext uri="{FF2B5EF4-FFF2-40B4-BE49-F238E27FC236}">
                <a16:creationId xmlns="" xmlns:a16="http://schemas.microsoft.com/office/drawing/2014/main" id="{F9583D4D-752E-4140-A32D-B7F9CC29E4E7}"/>
              </a:ext>
            </a:extLst>
          </p:cNvPr>
          <p:cNvCxnSpPr>
            <a:cxnSpLocks/>
          </p:cNvCxnSpPr>
          <p:nvPr/>
        </p:nvCxnSpPr>
        <p:spPr>
          <a:xfrm>
            <a:off x="693019" y="5521854"/>
            <a:ext cx="4434450" cy="0"/>
          </a:xfrm>
          <a:prstGeom prst="line">
            <a:avLst/>
          </a:prstGeom>
          <a:noFill/>
          <a:ln w="12700" cap="rnd">
            <a:solidFill>
              <a:schemeClr val="bg1">
                <a:lumMod val="50000"/>
              </a:schemeClr>
            </a:solidFill>
            <a:prstDash val="sysDot"/>
            <a:round/>
            <a:headEnd type="none"/>
            <a:tailEnd type="none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11252174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Прямоугольник 81">
            <a:extLst>
              <a:ext uri="{FF2B5EF4-FFF2-40B4-BE49-F238E27FC236}">
                <a16:creationId xmlns="" xmlns:a16="http://schemas.microsoft.com/office/drawing/2014/main" id="{8813A66D-ACB7-4E4B-9106-1E94D2D62831}"/>
              </a:ext>
            </a:extLst>
          </p:cNvPr>
          <p:cNvSpPr/>
          <p:nvPr/>
        </p:nvSpPr>
        <p:spPr>
          <a:xfrm>
            <a:off x="7546152" y="1085135"/>
            <a:ext cx="1735008" cy="5172078"/>
          </a:xfrm>
          <a:prstGeom prst="rect">
            <a:avLst/>
          </a:prstGeom>
          <a:solidFill>
            <a:srgbClr val="FFFFFF"/>
          </a:solidFill>
          <a:ln w="6350" cap="flat">
            <a:solidFill>
              <a:srgbClr val="4C3B21">
                <a:alpha val="17000"/>
              </a:srgbClr>
            </a:solidFill>
            <a:prstDash val="solid"/>
            <a:miter lim="800000"/>
          </a:ln>
          <a:effectLst>
            <a:outerShdw blurRad="304800" rotWithShape="0">
              <a:srgbClr val="6B522E">
                <a:alpha val="28000"/>
              </a:srgbClr>
            </a:outerShdw>
          </a:effectLst>
        </p:spPr>
        <p:txBody>
          <a:bodyPr wrap="square" lIns="45719" tIns="45719" rIns="45719" bIns="45719" numCol="1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7" name="Стрелка: влево 86">
            <a:extLst>
              <a:ext uri="{FF2B5EF4-FFF2-40B4-BE49-F238E27FC236}">
                <a16:creationId xmlns="" xmlns:a16="http://schemas.microsoft.com/office/drawing/2014/main" id="{9FA35DE5-B720-405B-9C24-C813080C639F}"/>
              </a:ext>
            </a:extLst>
          </p:cNvPr>
          <p:cNvSpPr/>
          <p:nvPr/>
        </p:nvSpPr>
        <p:spPr>
          <a:xfrm rot="10800000">
            <a:off x="7155345" y="1348132"/>
            <a:ext cx="526942" cy="619160"/>
          </a:xfrm>
          <a:prstGeom prst="leftArrow">
            <a:avLst/>
          </a:prstGeom>
          <a:gradFill>
            <a:gsLst>
              <a:gs pos="0">
                <a:schemeClr val="accent5">
                  <a:lumMod val="20000"/>
                  <a:lumOff val="80000"/>
                </a:schemeClr>
              </a:gs>
              <a:gs pos="100000">
                <a:schemeClr val="accent5"/>
              </a:gs>
            </a:gsLst>
            <a:lin ang="10800000" scaled="0"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1" name="Прямоугольник 80">
            <a:extLst>
              <a:ext uri="{FF2B5EF4-FFF2-40B4-BE49-F238E27FC236}">
                <a16:creationId xmlns="" xmlns:a16="http://schemas.microsoft.com/office/drawing/2014/main" id="{B9D62C46-67BA-4F7E-95BA-B6B48AE94620}"/>
              </a:ext>
            </a:extLst>
          </p:cNvPr>
          <p:cNvSpPr/>
          <p:nvPr/>
        </p:nvSpPr>
        <p:spPr>
          <a:xfrm>
            <a:off x="5681836" y="1085135"/>
            <a:ext cx="1735008" cy="5172078"/>
          </a:xfrm>
          <a:prstGeom prst="rect">
            <a:avLst/>
          </a:prstGeom>
          <a:solidFill>
            <a:srgbClr val="FFFFFF"/>
          </a:solidFill>
          <a:ln w="6350" cap="flat">
            <a:solidFill>
              <a:srgbClr val="4C3B21">
                <a:alpha val="17000"/>
              </a:srgbClr>
            </a:solidFill>
            <a:prstDash val="solid"/>
            <a:miter lim="800000"/>
          </a:ln>
          <a:effectLst>
            <a:outerShdw blurRad="304800" rotWithShape="0">
              <a:srgbClr val="6B522E">
                <a:alpha val="28000"/>
              </a:srgbClr>
            </a:outerShdw>
          </a:effectLst>
        </p:spPr>
        <p:txBody>
          <a:bodyPr wrap="square" lIns="45719" tIns="45719" rIns="45719" bIns="45719" numCol="1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5" name="Стрелка: влево 84">
            <a:extLst>
              <a:ext uri="{FF2B5EF4-FFF2-40B4-BE49-F238E27FC236}">
                <a16:creationId xmlns="" xmlns:a16="http://schemas.microsoft.com/office/drawing/2014/main" id="{3396F6A8-EBFB-40C8-B984-A867E6FFEBF9}"/>
              </a:ext>
            </a:extLst>
          </p:cNvPr>
          <p:cNvSpPr/>
          <p:nvPr/>
        </p:nvSpPr>
        <p:spPr>
          <a:xfrm rot="10800000">
            <a:off x="5285570" y="1348132"/>
            <a:ext cx="526942" cy="619160"/>
          </a:xfrm>
          <a:prstGeom prst="leftArrow">
            <a:avLst/>
          </a:prstGeom>
          <a:gradFill>
            <a:gsLst>
              <a:gs pos="0">
                <a:schemeClr val="accent5">
                  <a:lumMod val="20000"/>
                  <a:lumOff val="80000"/>
                </a:schemeClr>
              </a:gs>
              <a:gs pos="100000">
                <a:schemeClr val="accent5"/>
              </a:gs>
            </a:gsLst>
            <a:lin ang="10800000" scaled="0"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0" name="Прямоугольник 79">
            <a:extLst>
              <a:ext uri="{FF2B5EF4-FFF2-40B4-BE49-F238E27FC236}">
                <a16:creationId xmlns="" xmlns:a16="http://schemas.microsoft.com/office/drawing/2014/main" id="{9382D39D-9039-408C-BA48-44DB5F46D225}"/>
              </a:ext>
            </a:extLst>
          </p:cNvPr>
          <p:cNvSpPr/>
          <p:nvPr/>
        </p:nvSpPr>
        <p:spPr>
          <a:xfrm>
            <a:off x="3817521" y="1085135"/>
            <a:ext cx="1735008" cy="5172078"/>
          </a:xfrm>
          <a:prstGeom prst="rect">
            <a:avLst/>
          </a:prstGeom>
          <a:solidFill>
            <a:srgbClr val="FFFFFF"/>
          </a:solidFill>
          <a:ln w="6350" cap="flat">
            <a:solidFill>
              <a:srgbClr val="4C3B21">
                <a:alpha val="17000"/>
              </a:srgbClr>
            </a:solidFill>
            <a:prstDash val="solid"/>
            <a:miter lim="800000"/>
          </a:ln>
          <a:effectLst>
            <a:outerShdw blurRad="304800" rotWithShape="0">
              <a:srgbClr val="6B522E">
                <a:alpha val="28000"/>
              </a:srgbClr>
            </a:outerShdw>
          </a:effectLst>
        </p:spPr>
        <p:txBody>
          <a:bodyPr wrap="square" lIns="45719" tIns="45719" rIns="45719" bIns="45719" numCol="1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Стрелка: влево 12">
            <a:extLst>
              <a:ext uri="{FF2B5EF4-FFF2-40B4-BE49-F238E27FC236}">
                <a16:creationId xmlns="" xmlns:a16="http://schemas.microsoft.com/office/drawing/2014/main" id="{A1168802-6517-4049-8AA5-2E80A3B6D064}"/>
              </a:ext>
            </a:extLst>
          </p:cNvPr>
          <p:cNvSpPr/>
          <p:nvPr/>
        </p:nvSpPr>
        <p:spPr>
          <a:xfrm rot="10800000">
            <a:off x="3420717" y="1348132"/>
            <a:ext cx="526942" cy="619160"/>
          </a:xfrm>
          <a:prstGeom prst="leftArrow">
            <a:avLst/>
          </a:prstGeom>
          <a:gradFill>
            <a:gsLst>
              <a:gs pos="0">
                <a:schemeClr val="accent5">
                  <a:lumMod val="20000"/>
                  <a:lumOff val="80000"/>
                </a:schemeClr>
              </a:gs>
              <a:gs pos="100000">
                <a:schemeClr val="accent5"/>
              </a:gs>
            </a:gsLst>
            <a:lin ang="10800000" scaled="0"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" name="Прямоугольник 37">
            <a:extLst>
              <a:ext uri="{FF2B5EF4-FFF2-40B4-BE49-F238E27FC236}">
                <a16:creationId xmlns="" xmlns:a16="http://schemas.microsoft.com/office/drawing/2014/main" id="{8FCB982E-1689-4B56-8E7E-75084978BDEA}"/>
              </a:ext>
            </a:extLst>
          </p:cNvPr>
          <p:cNvSpPr/>
          <p:nvPr/>
        </p:nvSpPr>
        <p:spPr>
          <a:xfrm>
            <a:off x="1953206" y="1085135"/>
            <a:ext cx="1735008" cy="5172078"/>
          </a:xfrm>
          <a:prstGeom prst="rect">
            <a:avLst/>
          </a:prstGeom>
          <a:solidFill>
            <a:srgbClr val="FFFFFF"/>
          </a:solidFill>
          <a:ln w="6350" cap="flat">
            <a:solidFill>
              <a:srgbClr val="4C3B21">
                <a:alpha val="17000"/>
              </a:srgbClr>
            </a:solidFill>
            <a:prstDash val="solid"/>
            <a:miter lim="800000"/>
          </a:ln>
          <a:effectLst>
            <a:outerShdw blurRad="304800" rotWithShape="0">
              <a:srgbClr val="6B522E">
                <a:alpha val="28000"/>
              </a:srgbClr>
            </a:outerShdw>
          </a:effectLst>
        </p:spPr>
        <p:txBody>
          <a:bodyPr wrap="square" lIns="45719" tIns="45719" rIns="45719" bIns="45719" numCol="1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A830D6BA-3D19-4675-B893-32F308486DF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B56EDF32-9566-43A5-99E6-9D2D3E30AF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58720" y="195058"/>
            <a:ext cx="8895080" cy="815027"/>
          </a:xfrm>
        </p:spPr>
        <p:txBody>
          <a:bodyPr/>
          <a:lstStyle/>
          <a:p>
            <a:r>
              <a:rPr lang="ru-RU" sz="3000"/>
              <a:t>Сроки проведения конкурсов</a:t>
            </a:r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8F8F4B9A-0CB3-4558-9B44-AEFFDB8185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9439AD-A166-441A-9978-3BDD957F123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C2A17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C2A17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EA1BF6A8-8DFA-4236-8422-FB35EDD9C635}"/>
              </a:ext>
            </a:extLst>
          </p:cNvPr>
          <p:cNvSpPr/>
          <p:nvPr/>
        </p:nvSpPr>
        <p:spPr>
          <a:xfrm>
            <a:off x="5850334" y="1246910"/>
            <a:ext cx="1769962" cy="8402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sng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>
                  <a:solidFill>
                    <a:srgbClr val="FFD415"/>
                  </a:solidFill>
                </a:uFill>
                <a:latin typeface="Calibri"/>
                <a:ea typeface="+mn-ea"/>
                <a:cs typeface="+mn-cs"/>
              </a:rPr>
              <a:t>Объявление результатов конкурса 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="" xmlns:a16="http://schemas.microsoft.com/office/drawing/2014/main" id="{7531E48F-454D-4E00-96BB-1FB8211FBFEE}"/>
              </a:ext>
            </a:extLst>
          </p:cNvPr>
          <p:cNvSpPr/>
          <p:nvPr/>
        </p:nvSpPr>
        <p:spPr>
          <a:xfrm>
            <a:off x="7712831" y="1256585"/>
            <a:ext cx="1769958" cy="8402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sng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>
                  <a:solidFill>
                    <a:srgbClr val="FFD415"/>
                  </a:solidFill>
                </a:uFill>
                <a:latin typeface="Calibri"/>
                <a:ea typeface="+mn-ea"/>
                <a:cs typeface="+mn-cs"/>
              </a:rPr>
              <a:t>Начало реализации проектов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="" xmlns:a16="http://schemas.microsoft.com/office/drawing/2014/main" id="{D33426C1-41A2-4A60-90FD-902047B818DE}"/>
              </a:ext>
            </a:extLst>
          </p:cNvPr>
          <p:cNvSpPr/>
          <p:nvPr/>
        </p:nvSpPr>
        <p:spPr>
          <a:xfrm>
            <a:off x="9482535" y="1248664"/>
            <a:ext cx="2053293" cy="8402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sng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>
                  <a:solidFill>
                    <a:srgbClr val="FFD415"/>
                  </a:solidFill>
                </a:uFill>
                <a:latin typeface="Calibri"/>
                <a:ea typeface="+mn-ea"/>
                <a:cs typeface="+mn-cs"/>
              </a:rPr>
              <a:t>Предельная </a:t>
            </a:r>
            <a:br>
              <a:rPr kumimoji="0" lang="ru-RU" sz="1800" b="1" i="0" u="sng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>
                  <a:solidFill>
                    <a:srgbClr val="FFD415"/>
                  </a:solidFill>
                </a:uFill>
                <a:latin typeface="Calibri"/>
                <a:ea typeface="+mn-ea"/>
                <a:cs typeface="+mn-cs"/>
              </a:rPr>
            </a:br>
            <a:r>
              <a:rPr kumimoji="0" lang="ru-RU" sz="1800" b="1" i="0" u="sng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>
                  <a:solidFill>
                    <a:srgbClr val="FFD415"/>
                  </a:solidFill>
                </a:uFill>
                <a:latin typeface="Calibri"/>
                <a:ea typeface="+mn-ea"/>
                <a:cs typeface="+mn-cs"/>
              </a:rPr>
              <a:t>дата завершения проектов</a:t>
            </a:r>
          </a:p>
        </p:txBody>
      </p:sp>
      <p:sp>
        <p:nvSpPr>
          <p:cNvPr id="31" name="Объект 2">
            <a:extLst>
              <a:ext uri="{FF2B5EF4-FFF2-40B4-BE49-F238E27FC236}">
                <a16:creationId xmlns="" xmlns:a16="http://schemas.microsoft.com/office/drawing/2014/main" id="{34082670-4BB0-42C3-A95A-D3DBFEFE5FC1}"/>
              </a:ext>
            </a:extLst>
          </p:cNvPr>
          <p:cNvSpPr txBox="1">
            <a:spLocks/>
          </p:cNvSpPr>
          <p:nvPr/>
        </p:nvSpPr>
        <p:spPr>
          <a:xfrm>
            <a:off x="424332" y="3230647"/>
            <a:ext cx="1288109" cy="989214"/>
          </a:xfrm>
          <a:prstGeom prst="rect">
            <a:avLst/>
          </a:prstGeom>
          <a:noFill/>
        </p:spPr>
        <p:txBody>
          <a:bodyPr vert="horz" lIns="91440" tIns="4572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 kern="1200">
                <a:solidFill>
                  <a:srgbClr val="3C3837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rgbClr val="3C3837"/>
                </a:solidFill>
                <a:latin typeface="+mn-lt"/>
                <a:ea typeface="+mn-ea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800" b="1" i="0" u="sng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>
                  <a:solidFill>
                    <a:srgbClr val="FFD415"/>
                  </a:solidFill>
                </a:uFill>
                <a:latin typeface="Calibri"/>
                <a:ea typeface="+mn-ea"/>
                <a:cs typeface="+mn-cs"/>
              </a:rPr>
              <a:t>Первый конкурс 2021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="" xmlns:a16="http://schemas.microsoft.com/office/drawing/2014/main" id="{D07A3A76-452D-48AD-962F-FF31CEB1723D}"/>
              </a:ext>
            </a:extLst>
          </p:cNvPr>
          <p:cNvSpPr/>
          <p:nvPr/>
        </p:nvSpPr>
        <p:spPr>
          <a:xfrm>
            <a:off x="2127019" y="1246910"/>
            <a:ext cx="1636680" cy="8402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sng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>
                  <a:solidFill>
                    <a:srgbClr val="FFD415"/>
                  </a:solidFill>
                </a:uFill>
                <a:latin typeface="Calibri"/>
                <a:ea typeface="+mn-ea"/>
                <a:cs typeface="+mn-cs"/>
              </a:rPr>
              <a:t>Начало </a:t>
            </a:r>
            <a:br>
              <a:rPr kumimoji="0" lang="ru-RU" sz="1800" b="1" i="0" u="sng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>
                  <a:solidFill>
                    <a:srgbClr val="FFD415"/>
                  </a:solidFill>
                </a:uFill>
                <a:latin typeface="Calibri"/>
                <a:ea typeface="+mn-ea"/>
                <a:cs typeface="+mn-cs"/>
              </a:rPr>
            </a:br>
            <a:r>
              <a:rPr kumimoji="0" lang="ru-RU" sz="1800" b="1" i="0" u="sng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>
                  <a:solidFill>
                    <a:srgbClr val="FFD415"/>
                  </a:solidFill>
                </a:uFill>
                <a:latin typeface="Calibri"/>
                <a:ea typeface="+mn-ea"/>
                <a:cs typeface="+mn-cs"/>
              </a:rPr>
              <a:t>приема заявок 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="" xmlns:a16="http://schemas.microsoft.com/office/drawing/2014/main" id="{61DB523F-4DEC-4148-B82F-F514B6F5CCF7}"/>
              </a:ext>
            </a:extLst>
          </p:cNvPr>
          <p:cNvSpPr/>
          <p:nvPr/>
        </p:nvSpPr>
        <p:spPr>
          <a:xfrm>
            <a:off x="2127019" y="2863331"/>
            <a:ext cx="1418465" cy="67710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 сентября </a:t>
            </a:r>
            <a:r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/>
            </a:r>
            <a:br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0</a:t>
            </a:r>
          </a:p>
        </p:txBody>
      </p:sp>
      <p:sp>
        <p:nvSpPr>
          <p:cNvPr id="43" name="Прямоугольник 42">
            <a:extLst>
              <a:ext uri="{FF2B5EF4-FFF2-40B4-BE49-F238E27FC236}">
                <a16:creationId xmlns="" xmlns:a16="http://schemas.microsoft.com/office/drawing/2014/main" id="{A83672F1-D569-4CC1-BCD1-117F3D6065E8}"/>
              </a:ext>
            </a:extLst>
          </p:cNvPr>
          <p:cNvSpPr/>
          <p:nvPr/>
        </p:nvSpPr>
        <p:spPr>
          <a:xfrm>
            <a:off x="3985704" y="2863331"/>
            <a:ext cx="1426481" cy="67710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5 октября </a:t>
            </a:r>
            <a:r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/>
            </a:r>
            <a:br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0</a:t>
            </a:r>
          </a:p>
        </p:txBody>
      </p:sp>
      <p:sp>
        <p:nvSpPr>
          <p:cNvPr id="46" name="Прямоугольник 45">
            <a:extLst>
              <a:ext uri="{FF2B5EF4-FFF2-40B4-BE49-F238E27FC236}">
                <a16:creationId xmlns="" xmlns:a16="http://schemas.microsoft.com/office/drawing/2014/main" id="{C1417534-211C-4F7D-B3D6-0B20BCE302A7}"/>
              </a:ext>
            </a:extLst>
          </p:cNvPr>
          <p:cNvSpPr/>
          <p:nvPr/>
        </p:nvSpPr>
        <p:spPr>
          <a:xfrm>
            <a:off x="5850334" y="2861577"/>
            <a:ext cx="1321196" cy="67710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5 января </a:t>
            </a:r>
            <a:b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1</a:t>
            </a:r>
          </a:p>
        </p:txBody>
      </p:sp>
      <p:sp>
        <p:nvSpPr>
          <p:cNvPr id="52" name="Прямоугольник 51">
            <a:extLst>
              <a:ext uri="{FF2B5EF4-FFF2-40B4-BE49-F238E27FC236}">
                <a16:creationId xmlns="" xmlns:a16="http://schemas.microsoft.com/office/drawing/2014/main" id="{C87B6ABB-CD20-4313-9AF7-FB52B802CA8F}"/>
              </a:ext>
            </a:extLst>
          </p:cNvPr>
          <p:cNvSpPr/>
          <p:nvPr/>
        </p:nvSpPr>
        <p:spPr>
          <a:xfrm>
            <a:off x="7712831" y="2863331"/>
            <a:ext cx="1353256" cy="67710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 февраля </a:t>
            </a:r>
            <a:r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/>
            </a:r>
            <a:br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1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="" xmlns:a16="http://schemas.microsoft.com/office/drawing/2014/main" id="{0AAF5902-8373-4487-AC52-89455C965163}"/>
              </a:ext>
            </a:extLst>
          </p:cNvPr>
          <p:cNvSpPr/>
          <p:nvPr/>
        </p:nvSpPr>
        <p:spPr>
          <a:xfrm>
            <a:off x="3985704" y="1246910"/>
            <a:ext cx="1450096" cy="8402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sng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>
                  <a:solidFill>
                    <a:srgbClr val="FFD415"/>
                  </a:solidFill>
                </a:uFill>
                <a:latin typeface="Calibri"/>
                <a:ea typeface="+mn-ea"/>
                <a:cs typeface="+mn-cs"/>
              </a:rPr>
              <a:t>Завершение приема заявок </a:t>
            </a:r>
          </a:p>
        </p:txBody>
      </p:sp>
      <p:sp>
        <p:nvSpPr>
          <p:cNvPr id="49" name="Прямоугольник 48">
            <a:extLst>
              <a:ext uri="{FF2B5EF4-FFF2-40B4-BE49-F238E27FC236}">
                <a16:creationId xmlns="" xmlns:a16="http://schemas.microsoft.com/office/drawing/2014/main" id="{074DC688-BD25-4830-B460-A96C0546A489}"/>
              </a:ext>
            </a:extLst>
          </p:cNvPr>
          <p:cNvSpPr/>
          <p:nvPr/>
        </p:nvSpPr>
        <p:spPr>
          <a:xfrm>
            <a:off x="9482535" y="2483156"/>
            <a:ext cx="1967496" cy="8402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1 июля </a:t>
            </a:r>
            <a:r>
              <a:rPr kumimoji="0" lang="ru-RU" sz="2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2</a:t>
            </a:r>
            <a:r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/>
            </a:r>
            <a:br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для стандартных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3C3837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6" name="Прямоугольник 55">
            <a:extLst>
              <a:ext uri="{FF2B5EF4-FFF2-40B4-BE49-F238E27FC236}">
                <a16:creationId xmlns="" xmlns:a16="http://schemas.microsoft.com/office/drawing/2014/main" id="{BC1FB88F-15EF-4001-BE2C-B8CB43B38293}"/>
              </a:ext>
            </a:extLst>
          </p:cNvPr>
          <p:cNvSpPr/>
          <p:nvPr/>
        </p:nvSpPr>
        <p:spPr>
          <a:xfrm>
            <a:off x="9482535" y="3303366"/>
            <a:ext cx="2567596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1 января </a:t>
            </a:r>
            <a:r>
              <a:rPr kumimoji="0" lang="ru-RU" sz="2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4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для долгосрочных</a:t>
            </a: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3C3837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8" name="Объект 2">
            <a:extLst>
              <a:ext uri="{FF2B5EF4-FFF2-40B4-BE49-F238E27FC236}">
                <a16:creationId xmlns="" xmlns:a16="http://schemas.microsoft.com/office/drawing/2014/main" id="{C4353C94-BC9E-4091-A950-C17AE01ADE80}"/>
              </a:ext>
            </a:extLst>
          </p:cNvPr>
          <p:cNvSpPr txBox="1">
            <a:spLocks/>
          </p:cNvSpPr>
          <p:nvPr/>
        </p:nvSpPr>
        <p:spPr>
          <a:xfrm>
            <a:off x="424332" y="5313722"/>
            <a:ext cx="1288109" cy="989214"/>
          </a:xfrm>
          <a:prstGeom prst="rect">
            <a:avLst/>
          </a:prstGeom>
          <a:noFill/>
        </p:spPr>
        <p:txBody>
          <a:bodyPr vert="horz" lIns="91440" tIns="4572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 kern="1200">
                <a:solidFill>
                  <a:srgbClr val="3C3837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rgbClr val="3C3837"/>
                </a:solidFill>
                <a:latin typeface="+mn-lt"/>
                <a:ea typeface="+mn-ea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800" b="1" i="0" u="sng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>
                  <a:solidFill>
                    <a:srgbClr val="FFD415"/>
                  </a:solidFill>
                </a:uFill>
                <a:latin typeface="Calibri"/>
                <a:ea typeface="+mn-ea"/>
                <a:cs typeface="+mn-cs"/>
              </a:rPr>
              <a:t>Второй конкурс 2021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C56559E7-7D90-4334-9925-F999B32325F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36" y="4532591"/>
            <a:ext cx="520974" cy="730337"/>
          </a:xfrm>
          <a:prstGeom prst="rect">
            <a:avLst/>
          </a:prstGeom>
        </p:spPr>
      </p:pic>
      <p:pic>
        <p:nvPicPr>
          <p:cNvPr id="50" name="Рисунок 49">
            <a:extLst>
              <a:ext uri="{FF2B5EF4-FFF2-40B4-BE49-F238E27FC236}">
                <a16:creationId xmlns="" xmlns:a16="http://schemas.microsoft.com/office/drawing/2014/main" id="{3612D6E9-67CD-49A9-9DEA-C894C32D7A1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36" y="2465208"/>
            <a:ext cx="520974" cy="730337"/>
          </a:xfrm>
          <a:prstGeom prst="rect">
            <a:avLst/>
          </a:prstGeom>
        </p:spPr>
      </p:pic>
      <p:cxnSp>
        <p:nvCxnSpPr>
          <p:cNvPr id="55" name="Прямая соединительная линия 54">
            <a:extLst>
              <a:ext uri="{FF2B5EF4-FFF2-40B4-BE49-F238E27FC236}">
                <a16:creationId xmlns="" xmlns:a16="http://schemas.microsoft.com/office/drawing/2014/main" id="{F2388230-1694-4CCD-94CA-036F1E3783E8}"/>
              </a:ext>
            </a:extLst>
          </p:cNvPr>
          <p:cNvCxnSpPr>
            <a:cxnSpLocks/>
          </p:cNvCxnSpPr>
          <p:nvPr/>
        </p:nvCxnSpPr>
        <p:spPr>
          <a:xfrm>
            <a:off x="9356459" y="3187502"/>
            <a:ext cx="1911381" cy="0"/>
          </a:xfrm>
          <a:prstGeom prst="line">
            <a:avLst/>
          </a:prstGeom>
          <a:noFill/>
          <a:ln w="12700" cap="rnd">
            <a:solidFill>
              <a:schemeClr val="bg1">
                <a:lumMod val="50000"/>
              </a:schemeClr>
            </a:solidFill>
            <a:prstDash val="sysDot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9" name="Прямоугольник 68">
            <a:extLst>
              <a:ext uri="{FF2B5EF4-FFF2-40B4-BE49-F238E27FC236}">
                <a16:creationId xmlns="" xmlns:a16="http://schemas.microsoft.com/office/drawing/2014/main" id="{AE850177-A12F-4968-9332-E836EFA95CCD}"/>
              </a:ext>
            </a:extLst>
          </p:cNvPr>
          <p:cNvSpPr/>
          <p:nvPr/>
        </p:nvSpPr>
        <p:spPr>
          <a:xfrm>
            <a:off x="2127019" y="4942791"/>
            <a:ext cx="1353256" cy="67710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 февраля </a:t>
            </a:r>
            <a:br>
              <a:rPr kumimoji="0" lang="ru-RU" sz="2000" b="0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1</a:t>
            </a:r>
          </a:p>
        </p:txBody>
      </p:sp>
      <p:sp>
        <p:nvSpPr>
          <p:cNvPr id="71" name="Прямоугольник 70">
            <a:extLst>
              <a:ext uri="{FF2B5EF4-FFF2-40B4-BE49-F238E27FC236}">
                <a16:creationId xmlns="" xmlns:a16="http://schemas.microsoft.com/office/drawing/2014/main" id="{2F700CE1-D922-4A4D-94AC-3B315A612A18}"/>
              </a:ext>
            </a:extLst>
          </p:cNvPr>
          <p:cNvSpPr/>
          <p:nvPr/>
        </p:nvSpPr>
        <p:spPr>
          <a:xfrm>
            <a:off x="3985704" y="4942791"/>
            <a:ext cx="1156086" cy="67710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5 марта</a:t>
            </a:r>
            <a:br>
              <a:rPr kumimoji="0" lang="ru-RU" sz="2000" b="0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1</a:t>
            </a:r>
          </a:p>
        </p:txBody>
      </p:sp>
      <p:sp>
        <p:nvSpPr>
          <p:cNvPr id="73" name="Прямоугольник 72">
            <a:extLst>
              <a:ext uri="{FF2B5EF4-FFF2-40B4-BE49-F238E27FC236}">
                <a16:creationId xmlns="" xmlns:a16="http://schemas.microsoft.com/office/drawing/2014/main" id="{5D43B880-1BEF-46F5-868D-C04EF6EF56EC}"/>
              </a:ext>
            </a:extLst>
          </p:cNvPr>
          <p:cNvSpPr/>
          <p:nvPr/>
        </p:nvSpPr>
        <p:spPr>
          <a:xfrm>
            <a:off x="5850334" y="4941037"/>
            <a:ext cx="1140056" cy="67710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5 июня </a:t>
            </a:r>
            <a:b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1</a:t>
            </a:r>
          </a:p>
        </p:txBody>
      </p:sp>
      <p:sp>
        <p:nvSpPr>
          <p:cNvPr id="75" name="Прямоугольник 74">
            <a:extLst>
              <a:ext uri="{FF2B5EF4-FFF2-40B4-BE49-F238E27FC236}">
                <a16:creationId xmlns="" xmlns:a16="http://schemas.microsoft.com/office/drawing/2014/main" id="{95311BEA-B6D9-4EDE-9E6F-0CA65924B245}"/>
              </a:ext>
            </a:extLst>
          </p:cNvPr>
          <p:cNvSpPr/>
          <p:nvPr/>
        </p:nvSpPr>
        <p:spPr>
          <a:xfrm>
            <a:off x="7712831" y="4942791"/>
            <a:ext cx="1000659" cy="67710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 июля </a:t>
            </a:r>
            <a:br>
              <a:rPr kumimoji="0" lang="ru-RU" sz="2000" b="0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1</a:t>
            </a:r>
          </a:p>
        </p:txBody>
      </p:sp>
      <p:sp>
        <p:nvSpPr>
          <p:cNvPr id="45" name="Прямоугольник 44">
            <a:extLst>
              <a:ext uri="{FF2B5EF4-FFF2-40B4-BE49-F238E27FC236}">
                <a16:creationId xmlns="" xmlns:a16="http://schemas.microsoft.com/office/drawing/2014/main" id="{B30B2AD6-D771-EF49-8F6A-71F8034A56E9}"/>
              </a:ext>
            </a:extLst>
          </p:cNvPr>
          <p:cNvSpPr/>
          <p:nvPr/>
        </p:nvSpPr>
        <p:spPr>
          <a:xfrm>
            <a:off x="9482535" y="4572151"/>
            <a:ext cx="2857060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1 декабря </a:t>
            </a:r>
            <a:r>
              <a:rPr kumimoji="0" lang="ru-RU" sz="2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2</a:t>
            </a:r>
            <a:r>
              <a:rPr kumimoji="0" lang="ru-RU" sz="2000" b="0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/>
            </a:r>
            <a:br>
              <a:rPr kumimoji="0" lang="ru-RU" sz="2000" b="0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для стандартных</a:t>
            </a:r>
          </a:p>
        </p:txBody>
      </p:sp>
      <p:sp>
        <p:nvSpPr>
          <p:cNvPr id="47" name="Прямоугольник 46">
            <a:extLst>
              <a:ext uri="{FF2B5EF4-FFF2-40B4-BE49-F238E27FC236}">
                <a16:creationId xmlns="" xmlns:a16="http://schemas.microsoft.com/office/drawing/2014/main" id="{05B6C66E-721F-034D-88F4-F0834C9F8D05}"/>
              </a:ext>
            </a:extLst>
          </p:cNvPr>
          <p:cNvSpPr/>
          <p:nvPr/>
        </p:nvSpPr>
        <p:spPr>
          <a:xfrm>
            <a:off x="9482535" y="5393277"/>
            <a:ext cx="3407155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0 июня </a:t>
            </a:r>
            <a:r>
              <a:rPr kumimoji="0" lang="ru-RU" sz="2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4</a:t>
            </a:r>
            <a:r>
              <a:rPr kumimoji="0" lang="ru-RU" sz="2000" b="0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/>
            </a:r>
            <a:br>
              <a:rPr kumimoji="0" lang="ru-RU" sz="2000" b="0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для долгосрочных</a:t>
            </a: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3C3837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64" name="Прямая соединительная линия 63">
            <a:extLst>
              <a:ext uri="{FF2B5EF4-FFF2-40B4-BE49-F238E27FC236}">
                <a16:creationId xmlns="" xmlns:a16="http://schemas.microsoft.com/office/drawing/2014/main" id="{585EA46B-CFF1-45F5-A5E3-60651F768D30}"/>
              </a:ext>
            </a:extLst>
          </p:cNvPr>
          <p:cNvCxnSpPr>
            <a:cxnSpLocks/>
          </p:cNvCxnSpPr>
          <p:nvPr/>
        </p:nvCxnSpPr>
        <p:spPr>
          <a:xfrm>
            <a:off x="9356459" y="5290622"/>
            <a:ext cx="1911381" cy="0"/>
          </a:xfrm>
          <a:prstGeom prst="line">
            <a:avLst/>
          </a:prstGeom>
          <a:noFill/>
          <a:ln w="12700" cap="rnd">
            <a:solidFill>
              <a:schemeClr val="bg1">
                <a:lumMod val="50000"/>
              </a:schemeClr>
            </a:solidFill>
            <a:prstDash val="sysDot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78" name="Прямая соединительная линия 77">
            <a:extLst>
              <a:ext uri="{FF2B5EF4-FFF2-40B4-BE49-F238E27FC236}">
                <a16:creationId xmlns="" xmlns:a16="http://schemas.microsoft.com/office/drawing/2014/main" id="{32BE517D-08DC-42F7-8286-B88852139EAD}"/>
              </a:ext>
            </a:extLst>
          </p:cNvPr>
          <p:cNvCxnSpPr>
            <a:cxnSpLocks/>
          </p:cNvCxnSpPr>
          <p:nvPr/>
        </p:nvCxnSpPr>
        <p:spPr>
          <a:xfrm flipH="1">
            <a:off x="342901" y="4219861"/>
            <a:ext cx="11109959" cy="0"/>
          </a:xfrm>
          <a:prstGeom prst="line">
            <a:avLst/>
          </a:prstGeom>
          <a:noFill/>
          <a:ln w="34925" cap="rnd">
            <a:solidFill>
              <a:schemeClr val="accent5"/>
            </a:solidFill>
            <a:prstDash val="sysDot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79" name="Прямая соединительная линия 78">
            <a:extLst>
              <a:ext uri="{FF2B5EF4-FFF2-40B4-BE49-F238E27FC236}">
                <a16:creationId xmlns="" xmlns:a16="http://schemas.microsoft.com/office/drawing/2014/main" id="{854D06AA-9190-460F-8D64-202065E2C8B0}"/>
              </a:ext>
            </a:extLst>
          </p:cNvPr>
          <p:cNvCxnSpPr>
            <a:cxnSpLocks/>
          </p:cNvCxnSpPr>
          <p:nvPr/>
        </p:nvCxnSpPr>
        <p:spPr>
          <a:xfrm flipH="1">
            <a:off x="342901" y="2219611"/>
            <a:ext cx="11109959" cy="0"/>
          </a:xfrm>
          <a:prstGeom prst="line">
            <a:avLst/>
          </a:prstGeom>
          <a:noFill/>
          <a:ln w="12700" cap="rnd">
            <a:solidFill>
              <a:schemeClr val="bg1">
                <a:lumMod val="50000"/>
              </a:schemeClr>
            </a:solidFill>
            <a:prstDash val="sysDot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3676549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Прямоугольник: скругленные углы 26">
            <a:extLst>
              <a:ext uri="{FF2B5EF4-FFF2-40B4-BE49-F238E27FC236}">
                <a16:creationId xmlns="" xmlns:a16="http://schemas.microsoft.com/office/drawing/2014/main" id="{38F68DF1-A0F6-4CE6-BEE6-2EA2310D3F75}"/>
              </a:ext>
            </a:extLst>
          </p:cNvPr>
          <p:cNvSpPr/>
          <p:nvPr/>
        </p:nvSpPr>
        <p:spPr>
          <a:xfrm>
            <a:off x="3829191" y="5285416"/>
            <a:ext cx="7964834" cy="851065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6350" cap="flat">
            <a:solidFill>
              <a:srgbClr val="4C3B21">
                <a:alpha val="17000"/>
              </a:srgbClr>
            </a:solidFill>
            <a:prstDash val="solid"/>
            <a:miter lim="800000"/>
          </a:ln>
          <a:effectLst>
            <a:outerShdw blurRad="304800" rotWithShape="0">
              <a:srgbClr val="6B522E">
                <a:alpha val="28000"/>
              </a:srgbClr>
            </a:outerShdw>
          </a:effectLst>
        </p:spPr>
        <p:txBody>
          <a:bodyPr wrap="square" lIns="45719" tIns="45719" rIns="45719" bIns="45719" numCol="1" anchor="ctr">
            <a:noAutofit/>
          </a:bodyPr>
          <a:lstStyle/>
          <a:p>
            <a:pPr algn="ctr"/>
            <a:endParaRPr lang="ru-RU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0" name="Прямоугольник: скругленные углы 19">
            <a:extLst>
              <a:ext uri="{FF2B5EF4-FFF2-40B4-BE49-F238E27FC236}">
                <a16:creationId xmlns="" xmlns:a16="http://schemas.microsoft.com/office/drawing/2014/main" id="{16079BD0-5DEC-484D-BC5B-9A913FD7CFB0}"/>
              </a:ext>
            </a:extLst>
          </p:cNvPr>
          <p:cNvSpPr/>
          <p:nvPr/>
        </p:nvSpPr>
        <p:spPr>
          <a:xfrm>
            <a:off x="3829191" y="1116710"/>
            <a:ext cx="7964834" cy="3955517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6350" cap="flat">
            <a:solidFill>
              <a:srgbClr val="4C3B21">
                <a:alpha val="17000"/>
              </a:srgbClr>
            </a:solidFill>
            <a:prstDash val="solid"/>
            <a:miter lim="800000"/>
          </a:ln>
          <a:effectLst>
            <a:outerShdw blurRad="304800" rotWithShape="0">
              <a:srgbClr val="6B522E">
                <a:alpha val="28000"/>
              </a:srgbClr>
            </a:outerShdw>
          </a:effectLst>
        </p:spPr>
        <p:txBody>
          <a:bodyPr wrap="square" lIns="45719" tIns="45719" rIns="45719" bIns="45719" numCol="1" anchor="ctr">
            <a:noAutofit/>
          </a:bodyPr>
          <a:lstStyle/>
          <a:p>
            <a:pPr algn="ctr"/>
            <a:endParaRPr lang="ru-RU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F22219C4-738F-406C-B30E-AE8D563C4E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Участники конкурса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1EF2C52F-2CD3-4EB5-85C5-912A0AA975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F89439AD-A166-441A-9978-3BDD957F123B}" type="slidenum">
              <a:rPr lang="ru-RU" noProof="0" smtClean="0"/>
              <a:pPr lvl="0"/>
              <a:t>8</a:t>
            </a:fld>
            <a:endParaRPr lang="ru-RU" noProof="0"/>
          </a:p>
        </p:txBody>
      </p:sp>
      <p:sp>
        <p:nvSpPr>
          <p:cNvPr id="39" name="Прямоугольник 38">
            <a:extLst>
              <a:ext uri="{FF2B5EF4-FFF2-40B4-BE49-F238E27FC236}">
                <a16:creationId xmlns="" xmlns:a16="http://schemas.microsoft.com/office/drawing/2014/main" id="{68526734-3790-4466-A8EF-4BDA54CDB002}"/>
              </a:ext>
            </a:extLst>
          </p:cNvPr>
          <p:cNvSpPr/>
          <p:nvPr/>
        </p:nvSpPr>
        <p:spPr>
          <a:xfrm>
            <a:off x="3860454" y="1163170"/>
            <a:ext cx="7964834" cy="38625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ru-RU" sz="2000" b="1" dirty="0"/>
              <a:t>созданные в организационно-правовой форме:</a:t>
            </a:r>
          </a:p>
          <a:p>
            <a:pPr marL="342900" indent="-342900">
              <a:spcBef>
                <a:spcPts val="300"/>
              </a:spcBef>
              <a:spcAft>
                <a:spcPts val="300"/>
              </a:spcAft>
              <a:buClr>
                <a:srgbClr val="FFC000"/>
              </a:buClr>
              <a:buFont typeface="Calibri" panose="020F0502020204030204" pitchFamily="34" charset="0"/>
              <a:buChar char="•"/>
            </a:pPr>
            <a:r>
              <a:rPr lang="ru-RU" sz="2000" dirty="0"/>
              <a:t>общественной организации (за исключением политической партии)</a:t>
            </a:r>
          </a:p>
          <a:p>
            <a:pPr marL="342900" indent="-342900">
              <a:spcBef>
                <a:spcPts val="300"/>
              </a:spcBef>
              <a:spcAft>
                <a:spcPts val="300"/>
              </a:spcAft>
              <a:buClr>
                <a:srgbClr val="FFC000"/>
              </a:buClr>
              <a:buFont typeface="Calibri" panose="020F0502020204030204" pitchFamily="34" charset="0"/>
              <a:buChar char="•"/>
            </a:pPr>
            <a:r>
              <a:rPr lang="ru-RU" sz="2000" dirty="0"/>
              <a:t>общественного движения</a:t>
            </a:r>
          </a:p>
          <a:p>
            <a:pPr marL="342900" indent="-342900">
              <a:spcBef>
                <a:spcPts val="300"/>
              </a:spcBef>
              <a:spcAft>
                <a:spcPts val="300"/>
              </a:spcAft>
              <a:buClr>
                <a:srgbClr val="FFC000"/>
              </a:buClr>
              <a:buFont typeface="Calibri" panose="020F0502020204030204" pitchFamily="34" charset="0"/>
              <a:buChar char="•"/>
            </a:pPr>
            <a:r>
              <a:rPr lang="ru-RU" sz="2000" dirty="0"/>
              <a:t>фонда</a:t>
            </a:r>
          </a:p>
          <a:p>
            <a:pPr marL="342900" indent="-342900">
              <a:spcBef>
                <a:spcPts val="300"/>
              </a:spcBef>
              <a:spcAft>
                <a:spcPts val="300"/>
              </a:spcAft>
              <a:buClr>
                <a:srgbClr val="FFC000"/>
              </a:buClr>
              <a:buFont typeface="Calibri" panose="020F0502020204030204" pitchFamily="34" charset="0"/>
              <a:buChar char="•"/>
            </a:pPr>
            <a:r>
              <a:rPr lang="ru-RU" sz="2000" dirty="0"/>
              <a:t>частного (общественного) учреждения</a:t>
            </a:r>
          </a:p>
          <a:p>
            <a:pPr marL="342900" indent="-342900">
              <a:spcBef>
                <a:spcPts val="300"/>
              </a:spcBef>
              <a:spcAft>
                <a:spcPts val="300"/>
              </a:spcAft>
              <a:buClr>
                <a:srgbClr val="FFC000"/>
              </a:buClr>
              <a:buFont typeface="Calibri" panose="020F0502020204030204" pitchFamily="34" charset="0"/>
              <a:buChar char="•"/>
            </a:pPr>
            <a:r>
              <a:rPr lang="ru-RU" sz="2000" dirty="0"/>
              <a:t>автономной некоммерческой организации</a:t>
            </a:r>
          </a:p>
          <a:p>
            <a:pPr marL="342900" indent="-342900">
              <a:spcBef>
                <a:spcPts val="300"/>
              </a:spcBef>
              <a:spcAft>
                <a:spcPts val="300"/>
              </a:spcAft>
              <a:buClr>
                <a:srgbClr val="FFC000"/>
              </a:buClr>
              <a:buFont typeface="Calibri" panose="020F0502020204030204" pitchFamily="34" charset="0"/>
              <a:buChar char="•"/>
            </a:pPr>
            <a:r>
              <a:rPr lang="ru-RU" sz="2000" dirty="0"/>
              <a:t>ассоциации (союза)</a:t>
            </a:r>
          </a:p>
          <a:p>
            <a:pPr marL="342900" indent="-342900">
              <a:spcBef>
                <a:spcPts val="300"/>
              </a:spcBef>
              <a:spcAft>
                <a:spcPts val="300"/>
              </a:spcAft>
              <a:buClr>
                <a:srgbClr val="FFC000"/>
              </a:buClr>
              <a:buFont typeface="Calibri" panose="020F0502020204030204" pitchFamily="34" charset="0"/>
              <a:buChar char="•"/>
            </a:pPr>
            <a:r>
              <a:rPr lang="ru-RU" sz="2000" dirty="0"/>
              <a:t>религиозной организации</a:t>
            </a:r>
          </a:p>
          <a:p>
            <a:pPr marL="342900" indent="-342900">
              <a:spcBef>
                <a:spcPts val="300"/>
              </a:spcBef>
              <a:spcAft>
                <a:spcPts val="300"/>
              </a:spcAft>
              <a:buClr>
                <a:srgbClr val="FFC000"/>
              </a:buClr>
              <a:buFont typeface="Calibri" panose="020F0502020204030204" pitchFamily="34" charset="0"/>
              <a:buChar char="•"/>
            </a:pPr>
            <a:r>
              <a:rPr lang="ru-RU" sz="2000" dirty="0"/>
              <a:t>казачьего общества</a:t>
            </a:r>
          </a:p>
          <a:p>
            <a:pPr marL="342900" indent="-342900">
              <a:spcBef>
                <a:spcPts val="300"/>
              </a:spcBef>
              <a:spcAft>
                <a:spcPts val="300"/>
              </a:spcAft>
              <a:buClr>
                <a:srgbClr val="FFC000"/>
              </a:buClr>
              <a:buFont typeface="Calibri" panose="020F0502020204030204" pitchFamily="34" charset="0"/>
              <a:buChar char="•"/>
            </a:pPr>
            <a:r>
              <a:rPr lang="ru-RU" sz="2000" dirty="0"/>
              <a:t>общины коренных малочисленных народов</a:t>
            </a:r>
          </a:p>
        </p:txBody>
      </p:sp>
      <p:sp>
        <p:nvSpPr>
          <p:cNvPr id="8" name="Полилиния: фигура 7">
            <a:extLst>
              <a:ext uri="{FF2B5EF4-FFF2-40B4-BE49-F238E27FC236}">
                <a16:creationId xmlns="" xmlns:a16="http://schemas.microsoft.com/office/drawing/2014/main" id="{806DA589-C346-461C-80DD-F9886066BDF9}"/>
              </a:ext>
            </a:extLst>
          </p:cNvPr>
          <p:cNvSpPr/>
          <p:nvPr/>
        </p:nvSpPr>
        <p:spPr>
          <a:xfrm>
            <a:off x="653749" y="3799346"/>
            <a:ext cx="525277" cy="627346"/>
          </a:xfrm>
          <a:custGeom>
            <a:avLst/>
            <a:gdLst>
              <a:gd name="connsiteX0" fmla="*/ 517080 w 650784"/>
              <a:gd name="connsiteY0" fmla="*/ 34081 h 777240"/>
              <a:gd name="connsiteX1" fmla="*/ 590178 w 650784"/>
              <a:gd name="connsiteY1" fmla="*/ 16501 h 777240"/>
              <a:gd name="connsiteX2" fmla="*/ 649396 w 650784"/>
              <a:gd name="connsiteY2" fmla="*/ 2313 h 777240"/>
              <a:gd name="connsiteX3" fmla="*/ 569822 w 650784"/>
              <a:gd name="connsiteY3" fmla="*/ 92066 h 777240"/>
              <a:gd name="connsiteX4" fmla="*/ 432880 w 650784"/>
              <a:gd name="connsiteY4" fmla="*/ 601590 h 777240"/>
              <a:gd name="connsiteX5" fmla="*/ 353305 w 650784"/>
              <a:gd name="connsiteY5" fmla="*/ 691651 h 777240"/>
              <a:gd name="connsiteX6" fmla="*/ 123834 w 650784"/>
              <a:gd name="connsiteY6" fmla="*/ 746860 h 777240"/>
              <a:gd name="connsiteX7" fmla="*/ 61223 w 650784"/>
              <a:gd name="connsiteY7" fmla="*/ 761973 h 777240"/>
              <a:gd name="connsiteX8" fmla="*/ 2313 w 650784"/>
              <a:gd name="connsiteY8" fmla="*/ 776161 h 777240"/>
              <a:gd name="connsiteX9" fmla="*/ 81888 w 650784"/>
              <a:gd name="connsiteY9" fmla="*/ 686408 h 777240"/>
              <a:gd name="connsiteX10" fmla="*/ 218830 w 650784"/>
              <a:gd name="connsiteY10" fmla="*/ 176884 h 777240"/>
              <a:gd name="connsiteX11" fmla="*/ 298405 w 650784"/>
              <a:gd name="connsiteY11" fmla="*/ 86823 h 777240"/>
              <a:gd name="connsiteX12" fmla="*/ 517080 w 650784"/>
              <a:gd name="connsiteY12" fmla="*/ 34081 h 777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50784" h="777240">
                <a:moveTo>
                  <a:pt x="517080" y="34081"/>
                </a:moveTo>
                <a:lnTo>
                  <a:pt x="590178" y="16501"/>
                </a:lnTo>
                <a:lnTo>
                  <a:pt x="649396" y="2313"/>
                </a:lnTo>
                <a:cubicBezTo>
                  <a:pt x="613927" y="10949"/>
                  <a:pt x="582159" y="46727"/>
                  <a:pt x="569822" y="92066"/>
                </a:cubicBezTo>
                <a:lnTo>
                  <a:pt x="432880" y="601590"/>
                </a:lnTo>
                <a:cubicBezTo>
                  <a:pt x="420542" y="647238"/>
                  <a:pt x="388774" y="683015"/>
                  <a:pt x="353305" y="691651"/>
                </a:cubicBezTo>
                <a:lnTo>
                  <a:pt x="123834" y="746860"/>
                </a:lnTo>
                <a:lnTo>
                  <a:pt x="61223" y="761973"/>
                </a:lnTo>
                <a:lnTo>
                  <a:pt x="2313" y="776161"/>
                </a:lnTo>
                <a:cubicBezTo>
                  <a:pt x="37783" y="767525"/>
                  <a:pt x="69551" y="731747"/>
                  <a:pt x="81888" y="686408"/>
                </a:cubicBezTo>
                <a:lnTo>
                  <a:pt x="218830" y="176884"/>
                </a:lnTo>
                <a:cubicBezTo>
                  <a:pt x="231167" y="131236"/>
                  <a:pt x="262935" y="95459"/>
                  <a:pt x="298405" y="86823"/>
                </a:cubicBezTo>
                <a:lnTo>
                  <a:pt x="517080" y="34081"/>
                </a:lnTo>
                <a:close/>
              </a:path>
            </a:pathLst>
          </a:custGeom>
          <a:gradFill>
            <a:gsLst>
              <a:gs pos="0">
                <a:srgbClr val="FFE682"/>
              </a:gs>
              <a:gs pos="100000">
                <a:srgbClr val="FFC61B"/>
              </a:gs>
            </a:gsLst>
            <a:lin ang="16800000" scaled="0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="" xmlns:a16="http://schemas.microsoft.com/office/drawing/2014/main" id="{00863A3E-B7B1-484A-91DA-0C32CD05E22F}"/>
              </a:ext>
            </a:extLst>
          </p:cNvPr>
          <p:cNvSpPr txBox="1"/>
          <p:nvPr/>
        </p:nvSpPr>
        <p:spPr>
          <a:xfrm>
            <a:off x="441981" y="3909618"/>
            <a:ext cx="3197180" cy="834169"/>
          </a:xfrm>
          <a:prstGeom prst="rect">
            <a:avLst/>
          </a:prstGeom>
          <a:noFill/>
        </p:spPr>
        <p:txBody>
          <a:bodyPr wrap="square" lIns="94582" tIns="47291" rIns="94582" bIns="47291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Некоммерческие организации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08B9A4BB-DA98-4C42-8D45-73EF74CA1459}"/>
              </a:ext>
            </a:extLst>
          </p:cNvPr>
          <p:cNvSpPr/>
          <p:nvPr/>
        </p:nvSpPr>
        <p:spPr>
          <a:xfrm>
            <a:off x="3860454" y="5335501"/>
            <a:ext cx="796483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/>
              <a:t>не имеющие учредителя, являющегося государственным органом или органом местного самоуправления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="" xmlns:a16="http://schemas.microsoft.com/office/drawing/2014/main" id="{BE68AEAF-1CC3-4D2C-8056-B4E26A8642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434654" y="2492424"/>
            <a:ext cx="1145242" cy="1215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928957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Группа 14">
            <a:extLst>
              <a:ext uri="{FF2B5EF4-FFF2-40B4-BE49-F238E27FC236}">
                <a16:creationId xmlns="" xmlns:a16="http://schemas.microsoft.com/office/drawing/2014/main" id="{A2913CD0-7D8A-43CE-A375-1BF34BCABA55}"/>
              </a:ext>
            </a:extLst>
          </p:cNvPr>
          <p:cNvGrpSpPr/>
          <p:nvPr/>
        </p:nvGrpSpPr>
        <p:grpSpPr>
          <a:xfrm>
            <a:off x="589367" y="1218194"/>
            <a:ext cx="10964004" cy="2316742"/>
            <a:chOff x="589367" y="1113753"/>
            <a:chExt cx="13840310" cy="1083040"/>
          </a:xfrm>
        </p:grpSpPr>
        <p:sp>
          <p:nvSpPr>
            <p:cNvPr id="4" name="Прямоугольник: скругленные углы 53">
              <a:extLst>
                <a:ext uri="{FF2B5EF4-FFF2-40B4-BE49-F238E27FC236}">
                  <a16:creationId xmlns="" xmlns:a16="http://schemas.microsoft.com/office/drawing/2014/main" id="{3D934D7F-402C-41EE-AD88-133491149CC8}"/>
                </a:ext>
              </a:extLst>
            </p:cNvPr>
            <p:cNvSpPr/>
            <p:nvPr/>
          </p:nvSpPr>
          <p:spPr>
            <a:xfrm rot="5400000">
              <a:off x="1378930" y="324190"/>
              <a:ext cx="1083038" cy="2662164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 w="6350" cap="flat">
              <a:solidFill>
                <a:srgbClr val="4C3B21">
                  <a:alpha val="17000"/>
                </a:srgbClr>
              </a:solidFill>
              <a:prstDash val="solid"/>
              <a:miter lim="800000"/>
            </a:ln>
            <a:effectLst>
              <a:outerShdw blurRad="304800" rotWithShape="0">
                <a:srgbClr val="6B522E">
                  <a:alpha val="28000"/>
                </a:srgbClr>
              </a:outerShdw>
            </a:effectLst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/>
              <a:endParaRPr lang="ru-RU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7" name="Прямоугольник: скругленные углы 53">
              <a:extLst>
                <a:ext uri="{FF2B5EF4-FFF2-40B4-BE49-F238E27FC236}">
                  <a16:creationId xmlns="" xmlns:a16="http://schemas.microsoft.com/office/drawing/2014/main" id="{633A28E1-3529-4A57-A0DD-65E3E64035B0}"/>
                </a:ext>
              </a:extLst>
            </p:cNvPr>
            <p:cNvSpPr/>
            <p:nvPr/>
          </p:nvSpPr>
          <p:spPr>
            <a:xfrm rot="5400000">
              <a:off x="4178366" y="376505"/>
              <a:ext cx="1083040" cy="2557535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 w="6350" cap="flat">
              <a:solidFill>
                <a:srgbClr val="4C3B21">
                  <a:alpha val="17000"/>
                </a:srgbClr>
              </a:solidFill>
              <a:prstDash val="solid"/>
              <a:miter lim="800000"/>
            </a:ln>
            <a:effectLst>
              <a:outerShdw blurRad="304800" rotWithShape="0">
                <a:srgbClr val="6B522E">
                  <a:alpha val="28000"/>
                </a:srgbClr>
              </a:outerShdw>
            </a:effectLst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Прямоугольник: скругленные углы 53">
              <a:extLst>
                <a:ext uri="{FF2B5EF4-FFF2-40B4-BE49-F238E27FC236}">
                  <a16:creationId xmlns="" xmlns:a16="http://schemas.microsoft.com/office/drawing/2014/main" id="{403E2789-B519-48D4-8E17-5D0C17F11B1E}"/>
                </a:ext>
              </a:extLst>
            </p:cNvPr>
            <p:cNvSpPr/>
            <p:nvPr/>
          </p:nvSpPr>
          <p:spPr>
            <a:xfrm rot="5400000">
              <a:off x="6925488" y="376505"/>
              <a:ext cx="1083040" cy="2557535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 w="6350" cap="flat">
              <a:solidFill>
                <a:srgbClr val="4C3B21">
                  <a:alpha val="17000"/>
                </a:srgbClr>
              </a:solidFill>
              <a:prstDash val="solid"/>
              <a:miter lim="800000"/>
            </a:ln>
            <a:effectLst>
              <a:outerShdw blurRad="304800" rotWithShape="0">
                <a:srgbClr val="6B522E">
                  <a:alpha val="28000"/>
                </a:srgbClr>
              </a:outerShdw>
            </a:effectLst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/>
              <a:endParaRPr lang="ru-RU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3" name="Прямоугольник: скругленные углы 53">
              <a:extLst>
                <a:ext uri="{FF2B5EF4-FFF2-40B4-BE49-F238E27FC236}">
                  <a16:creationId xmlns="" xmlns:a16="http://schemas.microsoft.com/office/drawing/2014/main" id="{7135EA07-C67F-48BC-82B5-2B51A6DA3E48}"/>
                </a:ext>
              </a:extLst>
            </p:cNvPr>
            <p:cNvSpPr/>
            <p:nvPr/>
          </p:nvSpPr>
          <p:spPr>
            <a:xfrm rot="5400000">
              <a:off x="9720024" y="329092"/>
              <a:ext cx="1083039" cy="2652363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 w="6350" cap="flat">
              <a:solidFill>
                <a:srgbClr val="4C3B21">
                  <a:alpha val="17000"/>
                </a:srgbClr>
              </a:solidFill>
              <a:prstDash val="solid"/>
              <a:miter lim="800000"/>
            </a:ln>
            <a:effectLst>
              <a:outerShdw blurRad="304800" rotWithShape="0">
                <a:srgbClr val="6B522E">
                  <a:alpha val="28000"/>
                </a:srgbClr>
              </a:outerShdw>
            </a:effectLst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/>
              <a:endParaRPr lang="ru-RU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6" name="Прямоугольник: скругленные углы 53">
              <a:extLst>
                <a:ext uri="{FF2B5EF4-FFF2-40B4-BE49-F238E27FC236}">
                  <a16:creationId xmlns="" xmlns:a16="http://schemas.microsoft.com/office/drawing/2014/main" id="{37E523A0-868B-4969-BE13-F99371215CD1}"/>
                </a:ext>
              </a:extLst>
            </p:cNvPr>
            <p:cNvSpPr/>
            <p:nvPr/>
          </p:nvSpPr>
          <p:spPr>
            <a:xfrm rot="5400000">
              <a:off x="12561976" y="329092"/>
              <a:ext cx="1083039" cy="2652363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 w="6350" cap="flat">
              <a:solidFill>
                <a:srgbClr val="4C3B21">
                  <a:alpha val="17000"/>
                </a:srgbClr>
              </a:solidFill>
              <a:prstDash val="solid"/>
              <a:miter lim="800000"/>
            </a:ln>
            <a:effectLst>
              <a:outerShdw blurRad="304800" rotWithShape="0">
                <a:srgbClr val="6B522E">
                  <a:alpha val="28000"/>
                </a:srgbClr>
              </a:outerShdw>
            </a:effectLst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/>
              <a:endParaRPr lang="ru-RU">
                <a:solidFill>
                  <a:srgbClr val="FFFFFF"/>
                </a:solidFill>
                <a:latin typeface="Calibri"/>
              </a:endParaRPr>
            </a:p>
          </p:txBody>
        </p:sp>
      </p:grpSp>
      <p:grpSp>
        <p:nvGrpSpPr>
          <p:cNvPr id="18" name="Группа 17">
            <a:extLst>
              <a:ext uri="{FF2B5EF4-FFF2-40B4-BE49-F238E27FC236}">
                <a16:creationId xmlns="" xmlns:a16="http://schemas.microsoft.com/office/drawing/2014/main" id="{081D2403-AA7F-43DC-98D3-AE9E14C39B2B}"/>
              </a:ext>
            </a:extLst>
          </p:cNvPr>
          <p:cNvGrpSpPr/>
          <p:nvPr/>
        </p:nvGrpSpPr>
        <p:grpSpPr>
          <a:xfrm>
            <a:off x="589367" y="3757961"/>
            <a:ext cx="10964004" cy="2321142"/>
            <a:chOff x="589367" y="1113753"/>
            <a:chExt cx="13840310" cy="1083040"/>
          </a:xfrm>
        </p:grpSpPr>
        <p:sp>
          <p:nvSpPr>
            <p:cNvPr id="20" name="Прямоугольник: скругленные углы 53">
              <a:extLst>
                <a:ext uri="{FF2B5EF4-FFF2-40B4-BE49-F238E27FC236}">
                  <a16:creationId xmlns="" xmlns:a16="http://schemas.microsoft.com/office/drawing/2014/main" id="{3D9EBC6A-6CE4-4217-B33B-DF5F26B3E448}"/>
                </a:ext>
              </a:extLst>
            </p:cNvPr>
            <p:cNvSpPr/>
            <p:nvPr/>
          </p:nvSpPr>
          <p:spPr>
            <a:xfrm rot="5400000">
              <a:off x="1378930" y="324190"/>
              <a:ext cx="1083038" cy="2662164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 w="6350" cap="flat">
              <a:solidFill>
                <a:srgbClr val="4C3B21">
                  <a:alpha val="17000"/>
                </a:srgbClr>
              </a:solidFill>
              <a:prstDash val="solid"/>
              <a:miter lim="800000"/>
            </a:ln>
            <a:effectLst>
              <a:outerShdw blurRad="304800" rotWithShape="0">
                <a:srgbClr val="6B522E">
                  <a:alpha val="28000"/>
                </a:srgbClr>
              </a:outerShdw>
            </a:effectLst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/>
              <a:endParaRPr lang="ru-RU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21" name="Прямоугольник: скругленные углы 53">
              <a:extLst>
                <a:ext uri="{FF2B5EF4-FFF2-40B4-BE49-F238E27FC236}">
                  <a16:creationId xmlns="" xmlns:a16="http://schemas.microsoft.com/office/drawing/2014/main" id="{B7D29472-4794-42E4-A5FC-42A15BDEFD69}"/>
                </a:ext>
              </a:extLst>
            </p:cNvPr>
            <p:cNvSpPr/>
            <p:nvPr/>
          </p:nvSpPr>
          <p:spPr>
            <a:xfrm rot="5400000">
              <a:off x="4178366" y="376505"/>
              <a:ext cx="1083040" cy="2557535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 w="6350" cap="flat">
              <a:solidFill>
                <a:srgbClr val="4C3B21">
                  <a:alpha val="17000"/>
                </a:srgbClr>
              </a:solidFill>
              <a:prstDash val="solid"/>
              <a:miter lim="800000"/>
            </a:ln>
            <a:effectLst>
              <a:outerShdw blurRad="304800" rotWithShape="0">
                <a:srgbClr val="6B522E">
                  <a:alpha val="28000"/>
                </a:srgbClr>
              </a:outerShdw>
            </a:effectLst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Прямоугольник: скругленные углы 53">
              <a:extLst>
                <a:ext uri="{FF2B5EF4-FFF2-40B4-BE49-F238E27FC236}">
                  <a16:creationId xmlns="" xmlns:a16="http://schemas.microsoft.com/office/drawing/2014/main" id="{683D0325-CAE1-4925-A3B6-D1E7041B2B3A}"/>
                </a:ext>
              </a:extLst>
            </p:cNvPr>
            <p:cNvSpPr/>
            <p:nvPr/>
          </p:nvSpPr>
          <p:spPr>
            <a:xfrm rot="5400000">
              <a:off x="6925488" y="376505"/>
              <a:ext cx="1083040" cy="2557535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 w="6350" cap="flat">
              <a:solidFill>
                <a:srgbClr val="4C3B21">
                  <a:alpha val="17000"/>
                </a:srgbClr>
              </a:solidFill>
              <a:prstDash val="solid"/>
              <a:miter lim="800000"/>
            </a:ln>
            <a:effectLst>
              <a:outerShdw blurRad="304800" rotWithShape="0">
                <a:srgbClr val="6B522E">
                  <a:alpha val="28000"/>
                </a:srgbClr>
              </a:outerShdw>
            </a:effectLst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/>
              <a:endParaRPr lang="ru-RU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23" name="Прямоугольник: скругленные углы 53">
              <a:extLst>
                <a:ext uri="{FF2B5EF4-FFF2-40B4-BE49-F238E27FC236}">
                  <a16:creationId xmlns="" xmlns:a16="http://schemas.microsoft.com/office/drawing/2014/main" id="{4E912889-9316-4D3C-B53B-C1818F68A109}"/>
                </a:ext>
              </a:extLst>
            </p:cNvPr>
            <p:cNvSpPr/>
            <p:nvPr/>
          </p:nvSpPr>
          <p:spPr>
            <a:xfrm rot="5400000">
              <a:off x="9720024" y="329092"/>
              <a:ext cx="1083039" cy="2652363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 w="6350" cap="flat">
              <a:solidFill>
                <a:srgbClr val="4C3B21">
                  <a:alpha val="17000"/>
                </a:srgbClr>
              </a:solidFill>
              <a:prstDash val="solid"/>
              <a:miter lim="800000"/>
            </a:ln>
            <a:effectLst>
              <a:outerShdw blurRad="304800" rotWithShape="0">
                <a:srgbClr val="6B522E">
                  <a:alpha val="28000"/>
                </a:srgbClr>
              </a:outerShdw>
            </a:effectLst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/>
              <a:endParaRPr lang="ru-RU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24" name="Прямоугольник: скругленные углы 53">
              <a:extLst>
                <a:ext uri="{FF2B5EF4-FFF2-40B4-BE49-F238E27FC236}">
                  <a16:creationId xmlns="" xmlns:a16="http://schemas.microsoft.com/office/drawing/2014/main" id="{AA3D74E4-1DBA-4FAC-86E7-422A23D4B643}"/>
                </a:ext>
              </a:extLst>
            </p:cNvPr>
            <p:cNvSpPr/>
            <p:nvPr/>
          </p:nvSpPr>
          <p:spPr>
            <a:xfrm rot="5400000">
              <a:off x="12561976" y="329092"/>
              <a:ext cx="1083039" cy="2652363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 w="6350" cap="flat">
              <a:solidFill>
                <a:srgbClr val="4C3B21">
                  <a:alpha val="17000"/>
                </a:srgbClr>
              </a:solidFill>
              <a:prstDash val="solid"/>
              <a:miter lim="800000"/>
            </a:ln>
            <a:effectLst>
              <a:outerShdw blurRad="304800" rotWithShape="0">
                <a:srgbClr val="6B522E">
                  <a:alpha val="28000"/>
                </a:srgbClr>
              </a:outerShdw>
            </a:effectLst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/>
              <a:endParaRPr lang="ru-RU">
                <a:solidFill>
                  <a:srgbClr val="FFFFFF"/>
                </a:solidFill>
                <a:latin typeface="Calibri"/>
              </a:endParaRPr>
            </a:p>
          </p:txBody>
        </p:sp>
      </p:grpSp>
      <p:sp>
        <p:nvSpPr>
          <p:cNvPr id="6" name="Заголовок 5">
            <a:extLst>
              <a:ext uri="{FF2B5EF4-FFF2-40B4-BE49-F238E27FC236}">
                <a16:creationId xmlns="" xmlns:a16="http://schemas.microsoft.com/office/drawing/2014/main" id="{5578F5EB-83E9-4659-A4D2-E6304B49E3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ритерии оценки проектов</a:t>
            </a:r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0CC4BA0C-4FBF-45E2-8B3E-66E4F27EE3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9439AD-A166-441A-9978-3BDD957F123B}" type="slidenum">
              <a:rPr lang="ru-RU" smtClean="0"/>
              <a:pPr/>
              <a:t>9</a:t>
            </a:fld>
            <a:endParaRPr lang="ru-RU"/>
          </a:p>
        </p:txBody>
      </p:sp>
      <p:sp>
        <p:nvSpPr>
          <p:cNvPr id="27" name="TextBox 26">
            <a:extLst>
              <a:ext uri="{FF2B5EF4-FFF2-40B4-BE49-F238E27FC236}">
                <a16:creationId xmlns="" xmlns:a16="http://schemas.microsoft.com/office/drawing/2014/main" id="{57AB8AB7-775C-497E-93DB-537891E8D438}"/>
              </a:ext>
            </a:extLst>
          </p:cNvPr>
          <p:cNvSpPr txBox="1"/>
          <p:nvPr/>
        </p:nvSpPr>
        <p:spPr>
          <a:xfrm>
            <a:off x="869039" y="1802366"/>
            <a:ext cx="1549565" cy="11483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ctr">
              <a:lnSpc>
                <a:spcPct val="95000"/>
              </a:lnSpc>
            </a:pPr>
            <a:r>
              <a:rPr lang="ru-RU" u="sng" dirty="0">
                <a:solidFill>
                  <a:srgbClr val="3C3837"/>
                </a:solidFill>
                <a:uFill>
                  <a:solidFill>
                    <a:schemeClr val="accent5"/>
                  </a:solidFill>
                </a:uFill>
              </a:rPr>
              <a:t>Актуальность и социальная значимость проекта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="" xmlns:a16="http://schemas.microsoft.com/office/drawing/2014/main" id="{8A15E90A-4E2B-43F0-B93C-22E07703CB1D}"/>
              </a:ext>
            </a:extLst>
          </p:cNvPr>
          <p:cNvSpPr txBox="1"/>
          <p:nvPr/>
        </p:nvSpPr>
        <p:spPr>
          <a:xfrm>
            <a:off x="2866461" y="1447955"/>
            <a:ext cx="1988857" cy="18493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ctr">
              <a:lnSpc>
                <a:spcPct val="95000"/>
              </a:lnSpc>
            </a:pPr>
            <a:r>
              <a:rPr lang="ru-RU" u="sng" dirty="0">
                <a:solidFill>
                  <a:srgbClr val="3C3837"/>
                </a:solidFill>
                <a:uFill>
                  <a:solidFill>
                    <a:schemeClr val="accent5"/>
                  </a:solidFill>
                </a:uFill>
              </a:rPr>
              <a:t>Логическая связность </a:t>
            </a:r>
            <a:r>
              <a:rPr lang="ru-RU" b="0" i="0" u="none" strike="noStrike" baseline="0" dirty="0">
                <a:solidFill>
                  <a:srgbClr val="3C3837"/>
                </a:solidFill>
                <a:effectLst/>
                <a:latin typeface="+mn-lt"/>
              </a:rPr>
              <a:t/>
            </a:r>
            <a:br>
              <a:rPr lang="ru-RU" b="0" i="0" u="none" strike="noStrike" baseline="0" dirty="0">
                <a:solidFill>
                  <a:srgbClr val="3C3837"/>
                </a:solidFill>
                <a:effectLst/>
                <a:latin typeface="+mn-lt"/>
              </a:rPr>
            </a:br>
            <a:r>
              <a:rPr lang="ru-RU" sz="1400" spc="-40" dirty="0">
                <a:solidFill>
                  <a:srgbClr val="3C3837"/>
                </a:solidFill>
              </a:rPr>
              <a:t>и реализуемость проекта, соответствие </a:t>
            </a:r>
            <a:r>
              <a:rPr lang="en-US" sz="1400" spc="-40" dirty="0">
                <a:solidFill>
                  <a:srgbClr val="3C3837"/>
                </a:solidFill>
              </a:rPr>
              <a:t/>
            </a:r>
            <a:br>
              <a:rPr lang="en-US" sz="1400" spc="-40" dirty="0">
                <a:solidFill>
                  <a:srgbClr val="3C3837"/>
                </a:solidFill>
              </a:rPr>
            </a:br>
            <a:r>
              <a:rPr lang="ru-RU" sz="1400" spc="-40" dirty="0">
                <a:solidFill>
                  <a:srgbClr val="3C3837"/>
                </a:solidFill>
              </a:rPr>
              <a:t>мероприятий проекта его целям, задачам</a:t>
            </a:r>
            <a:br>
              <a:rPr lang="ru-RU" sz="1400" spc="-40" dirty="0">
                <a:solidFill>
                  <a:srgbClr val="3C3837"/>
                </a:solidFill>
              </a:rPr>
            </a:br>
            <a:r>
              <a:rPr lang="ru-RU" sz="1400" spc="-40" dirty="0">
                <a:solidFill>
                  <a:srgbClr val="3C3837"/>
                </a:solidFill>
              </a:rPr>
              <a:t>и ожидаемым результатам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="" xmlns:a16="http://schemas.microsoft.com/office/drawing/2014/main" id="{96F5B511-BFA8-412A-860F-31AA2CD99A22}"/>
              </a:ext>
            </a:extLst>
          </p:cNvPr>
          <p:cNvSpPr txBox="1"/>
          <p:nvPr/>
        </p:nvSpPr>
        <p:spPr>
          <a:xfrm>
            <a:off x="5005507" y="2031852"/>
            <a:ext cx="2064366" cy="8852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ctr">
              <a:lnSpc>
                <a:spcPct val="95000"/>
              </a:lnSpc>
            </a:pPr>
            <a:r>
              <a:rPr lang="ru-RU" u="sng" spc="-30" dirty="0">
                <a:solidFill>
                  <a:srgbClr val="3C3837"/>
                </a:solidFill>
                <a:uFill>
                  <a:solidFill>
                    <a:schemeClr val="accent5"/>
                  </a:solidFill>
                </a:uFill>
              </a:rPr>
              <a:t>Инновационность, </a:t>
            </a:r>
            <a:r>
              <a:rPr lang="ru-RU" u="sng" dirty="0">
                <a:solidFill>
                  <a:srgbClr val="3C3837"/>
                </a:solidFill>
                <a:uFill>
                  <a:solidFill>
                    <a:schemeClr val="accent5"/>
                  </a:solidFill>
                </a:uFill>
              </a:rPr>
              <a:t>уникальность проекта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="" xmlns:a16="http://schemas.microsoft.com/office/drawing/2014/main" id="{09820BD7-4B5D-4115-9166-6B5105759830}"/>
              </a:ext>
            </a:extLst>
          </p:cNvPr>
          <p:cNvSpPr txBox="1"/>
          <p:nvPr/>
        </p:nvSpPr>
        <p:spPr>
          <a:xfrm>
            <a:off x="7200889" y="1336400"/>
            <a:ext cx="2142646" cy="211250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ctr">
              <a:lnSpc>
                <a:spcPct val="95000"/>
              </a:lnSpc>
            </a:pPr>
            <a:r>
              <a:rPr lang="ru-RU" b="0" i="0" u="sng" strike="noStrike" dirty="0">
                <a:solidFill>
                  <a:srgbClr val="3C3837"/>
                </a:solidFill>
                <a:effectLst/>
                <a:uFill>
                  <a:solidFill>
                    <a:schemeClr val="accent5"/>
                  </a:solidFill>
                </a:uFill>
                <a:latin typeface="+mn-lt"/>
              </a:rPr>
              <a:t>Соотношение планируемых расходов </a:t>
            </a:r>
            <a:r>
              <a:rPr lang="ru-RU" sz="2000" b="0" i="0" u="none" strike="noStrike" baseline="0" dirty="0">
                <a:solidFill>
                  <a:srgbClr val="3C3837"/>
                </a:solidFill>
                <a:effectLst/>
                <a:latin typeface="+mn-lt"/>
              </a:rPr>
              <a:t/>
            </a:r>
            <a:br>
              <a:rPr lang="ru-RU" sz="2000" b="0" i="0" u="none" strike="noStrike" baseline="0" dirty="0">
                <a:solidFill>
                  <a:srgbClr val="3C3837"/>
                </a:solidFill>
                <a:effectLst/>
                <a:latin typeface="+mn-lt"/>
              </a:rPr>
            </a:br>
            <a:r>
              <a:rPr lang="ru-RU" sz="1400" b="0" i="0" u="none" strike="noStrike" spc="-40" dirty="0">
                <a:solidFill>
                  <a:srgbClr val="3C3837"/>
                </a:solidFill>
                <a:effectLst/>
                <a:latin typeface="+mn-lt"/>
              </a:rPr>
              <a:t>на реализацию проекта </a:t>
            </a:r>
            <a:r>
              <a:rPr lang="en-US" sz="1400" b="0" i="0" u="none" strike="noStrike" spc="-40" dirty="0">
                <a:solidFill>
                  <a:srgbClr val="3C3837"/>
                </a:solidFill>
                <a:effectLst/>
                <a:latin typeface="+mn-lt"/>
              </a:rPr>
              <a:t/>
            </a:r>
            <a:br>
              <a:rPr lang="en-US" sz="1400" b="0" i="0" u="none" strike="noStrike" spc="-40" dirty="0">
                <a:solidFill>
                  <a:srgbClr val="3C3837"/>
                </a:solidFill>
                <a:effectLst/>
                <a:latin typeface="+mn-lt"/>
              </a:rPr>
            </a:br>
            <a:r>
              <a:rPr lang="ru-RU" sz="1400" b="0" i="0" u="none" strike="noStrike" spc="-40" dirty="0">
                <a:solidFill>
                  <a:srgbClr val="3C3837"/>
                </a:solidFill>
                <a:effectLst/>
                <a:latin typeface="+mn-lt"/>
              </a:rPr>
              <a:t>и его ожидаемых результатов, адекватность, измеримость </a:t>
            </a:r>
            <a:r>
              <a:rPr lang="en-US" sz="1400" b="0" i="0" u="none" strike="noStrike" spc="-40" dirty="0">
                <a:solidFill>
                  <a:srgbClr val="3C3837"/>
                </a:solidFill>
                <a:effectLst/>
                <a:latin typeface="+mn-lt"/>
              </a:rPr>
              <a:t/>
            </a:r>
            <a:br>
              <a:rPr lang="en-US" sz="1400" b="0" i="0" u="none" strike="noStrike" spc="-40" dirty="0">
                <a:solidFill>
                  <a:srgbClr val="3C3837"/>
                </a:solidFill>
                <a:effectLst/>
                <a:latin typeface="+mn-lt"/>
              </a:rPr>
            </a:br>
            <a:r>
              <a:rPr lang="ru-RU" sz="1400" b="0" i="0" u="none" strike="noStrike" spc="-40" dirty="0">
                <a:solidFill>
                  <a:srgbClr val="3C3837"/>
                </a:solidFill>
                <a:effectLst/>
                <a:latin typeface="+mn-lt"/>
              </a:rPr>
              <a:t>и достижимость таких результатов</a:t>
            </a:r>
            <a:endParaRPr lang="ru-RU" b="0" i="0" u="none" strike="noStrike" spc="-40" dirty="0">
              <a:solidFill>
                <a:srgbClr val="3C3837"/>
              </a:solidFill>
              <a:effectLst/>
              <a:latin typeface="+mn-lt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="" xmlns:a16="http://schemas.microsoft.com/office/drawing/2014/main" id="{F7249D28-3D05-4AFF-92B3-9F5F9AAF8B90}"/>
              </a:ext>
            </a:extLst>
          </p:cNvPr>
          <p:cNvSpPr txBox="1"/>
          <p:nvPr/>
        </p:nvSpPr>
        <p:spPr>
          <a:xfrm>
            <a:off x="9449504" y="1759674"/>
            <a:ext cx="2101146" cy="14400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ctr">
              <a:lnSpc>
                <a:spcPct val="95000"/>
              </a:lnSpc>
            </a:pPr>
            <a:r>
              <a:rPr lang="ru-RU" u="sng" dirty="0">
                <a:solidFill>
                  <a:srgbClr val="3C3837"/>
                </a:solidFill>
                <a:uFill>
                  <a:solidFill>
                    <a:schemeClr val="accent5"/>
                  </a:solidFill>
                </a:uFill>
              </a:rPr>
              <a:t>Реалистичность бюджета проекта </a:t>
            </a:r>
            <a:br>
              <a:rPr lang="ru-RU" u="sng" dirty="0">
                <a:solidFill>
                  <a:srgbClr val="3C3837"/>
                </a:solidFill>
                <a:uFill>
                  <a:solidFill>
                    <a:schemeClr val="accent5"/>
                  </a:solidFill>
                </a:uFill>
              </a:rPr>
            </a:br>
            <a:r>
              <a:rPr lang="ru-RU" sz="1400" spc="-40" dirty="0">
                <a:solidFill>
                  <a:srgbClr val="3C3837"/>
                </a:solidFill>
              </a:rPr>
              <a:t>и обоснованность планируемых </a:t>
            </a:r>
            <a:r>
              <a:rPr lang="en-US" sz="1400" spc="-40" dirty="0">
                <a:solidFill>
                  <a:srgbClr val="3C3837"/>
                </a:solidFill>
              </a:rPr>
              <a:t/>
            </a:r>
            <a:br>
              <a:rPr lang="en-US" sz="1400" spc="-40" dirty="0">
                <a:solidFill>
                  <a:srgbClr val="3C3837"/>
                </a:solidFill>
              </a:rPr>
            </a:br>
            <a:r>
              <a:rPr lang="ru-RU" sz="1400" spc="-40" dirty="0">
                <a:solidFill>
                  <a:srgbClr val="3C3837"/>
                </a:solidFill>
              </a:rPr>
              <a:t>расходов на реализацию проекта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="" xmlns:a16="http://schemas.microsoft.com/office/drawing/2014/main" id="{3DA84D85-2625-40A7-BD0F-C726135AFCA7}"/>
              </a:ext>
            </a:extLst>
          </p:cNvPr>
          <p:cNvSpPr txBox="1"/>
          <p:nvPr/>
        </p:nvSpPr>
        <p:spPr>
          <a:xfrm>
            <a:off x="759132" y="4409382"/>
            <a:ext cx="1769378" cy="8852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ctr">
              <a:lnSpc>
                <a:spcPct val="95000"/>
              </a:lnSpc>
            </a:pPr>
            <a:r>
              <a:rPr lang="ru-RU" u="sng" dirty="0">
                <a:solidFill>
                  <a:srgbClr val="3C3837"/>
                </a:solidFill>
                <a:uFill>
                  <a:solidFill>
                    <a:schemeClr val="accent5"/>
                  </a:solidFill>
                </a:uFill>
              </a:rPr>
              <a:t>Масштаб реализации проекта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="" xmlns:a16="http://schemas.microsoft.com/office/drawing/2014/main" id="{84AA9B71-D8CD-48A3-94AE-7BDC4EDD0EE2}"/>
              </a:ext>
            </a:extLst>
          </p:cNvPr>
          <p:cNvSpPr txBox="1"/>
          <p:nvPr/>
        </p:nvSpPr>
        <p:spPr>
          <a:xfrm>
            <a:off x="2816536" y="3993883"/>
            <a:ext cx="2088706" cy="1907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ctr">
              <a:lnSpc>
                <a:spcPct val="95000"/>
              </a:lnSpc>
            </a:pPr>
            <a:r>
              <a:rPr lang="ru-RU" u="sng" dirty="0">
                <a:solidFill>
                  <a:srgbClr val="3C3837"/>
                </a:solidFill>
                <a:uFill>
                  <a:solidFill>
                    <a:schemeClr val="accent5"/>
                  </a:solidFill>
                </a:uFill>
              </a:rPr>
              <a:t>Собственный вклад </a:t>
            </a:r>
            <a:br>
              <a:rPr lang="ru-RU" u="sng" dirty="0">
                <a:solidFill>
                  <a:srgbClr val="3C3837"/>
                </a:solidFill>
                <a:uFill>
                  <a:solidFill>
                    <a:schemeClr val="accent5"/>
                  </a:solidFill>
                </a:uFill>
              </a:rPr>
            </a:br>
            <a:r>
              <a:rPr lang="ru-RU" u="sng" dirty="0">
                <a:solidFill>
                  <a:srgbClr val="3C3837"/>
                </a:solidFill>
                <a:uFill>
                  <a:solidFill>
                    <a:schemeClr val="accent5"/>
                  </a:solidFill>
                </a:uFill>
              </a:rPr>
              <a:t>организации </a:t>
            </a:r>
            <a:br>
              <a:rPr lang="ru-RU" u="sng" dirty="0">
                <a:solidFill>
                  <a:srgbClr val="3C3837"/>
                </a:solidFill>
                <a:uFill>
                  <a:solidFill>
                    <a:schemeClr val="accent5"/>
                  </a:solidFill>
                </a:uFill>
              </a:rPr>
            </a:br>
            <a:r>
              <a:rPr lang="ru-RU" sz="1400" spc="-40" dirty="0">
                <a:solidFill>
                  <a:srgbClr val="3C3837"/>
                </a:solidFill>
              </a:rPr>
              <a:t>и дополнительные ресурсы, привлекаемые на реализацию проекта, перспективы развития</a:t>
            </a:r>
            <a:r>
              <a:rPr lang="en-US" sz="1400" spc="-40" dirty="0">
                <a:solidFill>
                  <a:srgbClr val="3C3837"/>
                </a:solidFill>
              </a:rPr>
              <a:t> </a:t>
            </a:r>
            <a:r>
              <a:rPr lang="ru-RU" sz="1400" spc="-40" dirty="0">
                <a:solidFill>
                  <a:srgbClr val="3C3837"/>
                </a:solidFill>
              </a:rPr>
              <a:t>проекта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="" xmlns:a16="http://schemas.microsoft.com/office/drawing/2014/main" id="{FAB4CDE9-89CF-414F-90D5-A61037811EA3}"/>
              </a:ext>
            </a:extLst>
          </p:cNvPr>
          <p:cNvSpPr txBox="1"/>
          <p:nvPr/>
        </p:nvSpPr>
        <p:spPr>
          <a:xfrm>
            <a:off x="5090132" y="4023122"/>
            <a:ext cx="1895115" cy="18493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ctr">
              <a:lnSpc>
                <a:spcPct val="95000"/>
              </a:lnSpc>
            </a:pPr>
            <a:r>
              <a:rPr lang="ru-RU" u="sng" dirty="0">
                <a:solidFill>
                  <a:srgbClr val="3C3837"/>
                </a:solidFill>
                <a:uFill>
                  <a:solidFill>
                    <a:schemeClr val="accent5"/>
                  </a:solidFill>
                </a:uFill>
              </a:rPr>
              <a:t>Опыт организации </a:t>
            </a:r>
            <a:r>
              <a:rPr lang="ru-RU" b="0" i="0" u="none" strike="noStrike" baseline="0" dirty="0">
                <a:solidFill>
                  <a:srgbClr val="3C3837"/>
                </a:solidFill>
                <a:effectLst/>
                <a:latin typeface="+mn-lt"/>
              </a:rPr>
              <a:t/>
            </a:r>
            <a:br>
              <a:rPr lang="ru-RU" b="0" i="0" u="none" strike="noStrike" baseline="0" dirty="0">
                <a:solidFill>
                  <a:srgbClr val="3C3837"/>
                </a:solidFill>
                <a:effectLst/>
                <a:latin typeface="+mn-lt"/>
              </a:rPr>
            </a:br>
            <a:r>
              <a:rPr lang="ru-RU" sz="1400" spc="-40" dirty="0">
                <a:solidFill>
                  <a:srgbClr val="3C3837"/>
                </a:solidFill>
              </a:rPr>
              <a:t>по успешной реализации программ, </a:t>
            </a:r>
            <a:r>
              <a:rPr lang="en-US" sz="1400" spc="-40" dirty="0">
                <a:solidFill>
                  <a:srgbClr val="3C3837"/>
                </a:solidFill>
              </a:rPr>
              <a:t/>
            </a:r>
            <a:br>
              <a:rPr lang="en-US" sz="1400" spc="-40" dirty="0">
                <a:solidFill>
                  <a:srgbClr val="3C3837"/>
                </a:solidFill>
              </a:rPr>
            </a:br>
            <a:r>
              <a:rPr lang="ru-RU" sz="1400" spc="-40" dirty="0">
                <a:solidFill>
                  <a:srgbClr val="3C3837"/>
                </a:solidFill>
              </a:rPr>
              <a:t>проектов по соответствующему направлению деятельности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="" xmlns:a16="http://schemas.microsoft.com/office/drawing/2014/main" id="{34BD9AF2-7019-4900-8870-DA709CDD9C73}"/>
              </a:ext>
            </a:extLst>
          </p:cNvPr>
          <p:cNvSpPr txBox="1"/>
          <p:nvPr/>
        </p:nvSpPr>
        <p:spPr>
          <a:xfrm>
            <a:off x="7248956" y="4110453"/>
            <a:ext cx="2030778" cy="16746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ctr">
              <a:lnSpc>
                <a:spcPct val="95000"/>
              </a:lnSpc>
            </a:pPr>
            <a:r>
              <a:rPr lang="ru-RU" u="sng" dirty="0">
                <a:solidFill>
                  <a:srgbClr val="3C3837"/>
                </a:solidFill>
                <a:uFill>
                  <a:solidFill>
                    <a:schemeClr val="accent5"/>
                  </a:solidFill>
                </a:uFill>
              </a:rPr>
              <a:t>Соответствие опыта </a:t>
            </a:r>
            <a:br>
              <a:rPr lang="ru-RU" u="sng" dirty="0">
                <a:solidFill>
                  <a:srgbClr val="3C3837"/>
                </a:solidFill>
                <a:uFill>
                  <a:solidFill>
                    <a:schemeClr val="accent5"/>
                  </a:solidFill>
                </a:uFill>
              </a:rPr>
            </a:br>
            <a:r>
              <a:rPr lang="ru-RU" u="sng" dirty="0">
                <a:solidFill>
                  <a:srgbClr val="3C3837"/>
                </a:solidFill>
                <a:uFill>
                  <a:solidFill>
                    <a:schemeClr val="accent5"/>
                  </a:solidFill>
                </a:uFill>
              </a:rPr>
              <a:t>и компетенций команды проекта </a:t>
            </a:r>
            <a:r>
              <a:rPr lang="en-US" u="sng" dirty="0">
                <a:solidFill>
                  <a:srgbClr val="3C3837"/>
                </a:solidFill>
                <a:uFill>
                  <a:solidFill>
                    <a:schemeClr val="accent5"/>
                  </a:solidFill>
                </a:uFill>
              </a:rPr>
              <a:t/>
            </a:r>
            <a:br>
              <a:rPr lang="en-US" u="sng" dirty="0">
                <a:solidFill>
                  <a:srgbClr val="3C3837"/>
                </a:solidFill>
                <a:uFill>
                  <a:solidFill>
                    <a:schemeClr val="accent5"/>
                  </a:solidFill>
                </a:uFill>
              </a:rPr>
            </a:br>
            <a:r>
              <a:rPr lang="ru-RU" u="sng" dirty="0">
                <a:solidFill>
                  <a:srgbClr val="3C3837"/>
                </a:solidFill>
                <a:uFill>
                  <a:solidFill>
                    <a:schemeClr val="accent5"/>
                  </a:solidFill>
                </a:uFill>
              </a:rPr>
              <a:t>планируемой деятельности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="" xmlns:a16="http://schemas.microsoft.com/office/drawing/2014/main" id="{2927C847-52CF-4C39-9B8C-DCA1091D40FC}"/>
              </a:ext>
            </a:extLst>
          </p:cNvPr>
          <p:cNvSpPr txBox="1"/>
          <p:nvPr/>
        </p:nvSpPr>
        <p:spPr>
          <a:xfrm>
            <a:off x="9253539" y="4470668"/>
            <a:ext cx="2515378" cy="8852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ctr">
              <a:lnSpc>
                <a:spcPct val="95000"/>
              </a:lnSpc>
            </a:pPr>
            <a:r>
              <a:rPr lang="ru-RU" u="sng" dirty="0">
                <a:solidFill>
                  <a:srgbClr val="3C3837"/>
                </a:solidFill>
                <a:uFill>
                  <a:solidFill>
                    <a:schemeClr val="accent5"/>
                  </a:solidFill>
                </a:uFill>
              </a:rPr>
              <a:t>Информационная открытость организации</a:t>
            </a:r>
          </a:p>
        </p:txBody>
      </p:sp>
      <p:grpSp>
        <p:nvGrpSpPr>
          <p:cNvPr id="78" name="Группа 77">
            <a:extLst>
              <a:ext uri="{FF2B5EF4-FFF2-40B4-BE49-F238E27FC236}">
                <a16:creationId xmlns="" xmlns:a16="http://schemas.microsoft.com/office/drawing/2014/main" id="{84782E37-40E4-4922-9D61-F5A87D5867EE}"/>
              </a:ext>
            </a:extLst>
          </p:cNvPr>
          <p:cNvGrpSpPr/>
          <p:nvPr/>
        </p:nvGrpSpPr>
        <p:grpSpPr>
          <a:xfrm>
            <a:off x="320682" y="947852"/>
            <a:ext cx="612832" cy="612832"/>
            <a:chOff x="224481" y="762443"/>
            <a:chExt cx="782932" cy="782932"/>
          </a:xfrm>
        </p:grpSpPr>
        <p:sp>
          <p:nvSpPr>
            <p:cNvPr id="69" name="Овал 68">
              <a:extLst>
                <a:ext uri="{FF2B5EF4-FFF2-40B4-BE49-F238E27FC236}">
                  <a16:creationId xmlns="" xmlns:a16="http://schemas.microsoft.com/office/drawing/2014/main" id="{E1A48DC1-2C8D-4C03-A528-CBF7C1D78F3B}"/>
                </a:ext>
              </a:extLst>
            </p:cNvPr>
            <p:cNvSpPr/>
            <p:nvPr/>
          </p:nvSpPr>
          <p:spPr>
            <a:xfrm>
              <a:off x="224481" y="762443"/>
              <a:ext cx="782932" cy="782932"/>
            </a:xfrm>
            <a:prstGeom prst="ellipse">
              <a:avLst/>
            </a:prstGeom>
            <a:solidFill>
              <a:srgbClr val="FFFFFF"/>
            </a:solidFill>
            <a:ln w="6350" cap="flat">
              <a:solidFill>
                <a:srgbClr val="4C3B21">
                  <a:alpha val="17000"/>
                </a:srgbClr>
              </a:solidFill>
              <a:prstDash val="solid"/>
              <a:miter lim="800000"/>
            </a:ln>
            <a:effectLst>
              <a:outerShdw blurRad="304800" rotWithShape="0">
                <a:srgbClr val="6B522E">
                  <a:alpha val="28000"/>
                </a:srgbClr>
              </a:outerShdw>
            </a:effectLst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/>
              <a:endParaRPr lang="ru-RU">
                <a:solidFill>
                  <a:srgbClr val="FFFFFF"/>
                </a:solidFill>
                <a:latin typeface="Calibri"/>
              </a:endParaRPr>
            </a:p>
          </p:txBody>
        </p:sp>
        <p:pic>
          <p:nvPicPr>
            <p:cNvPr id="39" name="Рисунок 38">
              <a:extLst>
                <a:ext uri="{FF2B5EF4-FFF2-40B4-BE49-F238E27FC236}">
                  <a16:creationId xmlns="" xmlns:a16="http://schemas.microsoft.com/office/drawing/2014/main" id="{EF1D3A25-BFBD-412C-A5F0-B2E5EEE2AD8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56230" y="794192"/>
              <a:ext cx="719434" cy="719434"/>
            </a:xfrm>
            <a:prstGeom prst="rect">
              <a:avLst/>
            </a:prstGeom>
          </p:spPr>
        </p:pic>
      </p:grpSp>
      <p:grpSp>
        <p:nvGrpSpPr>
          <p:cNvPr id="77" name="Группа 76">
            <a:extLst>
              <a:ext uri="{FF2B5EF4-FFF2-40B4-BE49-F238E27FC236}">
                <a16:creationId xmlns="" xmlns:a16="http://schemas.microsoft.com/office/drawing/2014/main" id="{372A54D3-DF91-4628-AF1C-7148241DCCA5}"/>
              </a:ext>
            </a:extLst>
          </p:cNvPr>
          <p:cNvGrpSpPr/>
          <p:nvPr/>
        </p:nvGrpSpPr>
        <p:grpSpPr>
          <a:xfrm>
            <a:off x="2557565" y="947852"/>
            <a:ext cx="612832" cy="612832"/>
            <a:chOff x="2427911" y="762443"/>
            <a:chExt cx="782932" cy="782932"/>
          </a:xfrm>
        </p:grpSpPr>
        <p:sp>
          <p:nvSpPr>
            <p:cNvPr id="70" name="Овал 69">
              <a:extLst>
                <a:ext uri="{FF2B5EF4-FFF2-40B4-BE49-F238E27FC236}">
                  <a16:creationId xmlns="" xmlns:a16="http://schemas.microsoft.com/office/drawing/2014/main" id="{106F14F0-1094-4DB5-8C05-08FCB6B22173}"/>
                </a:ext>
              </a:extLst>
            </p:cNvPr>
            <p:cNvSpPr/>
            <p:nvPr/>
          </p:nvSpPr>
          <p:spPr>
            <a:xfrm>
              <a:off x="2427911" y="762443"/>
              <a:ext cx="782932" cy="782932"/>
            </a:xfrm>
            <a:prstGeom prst="ellipse">
              <a:avLst/>
            </a:prstGeom>
            <a:solidFill>
              <a:srgbClr val="FFFFFF"/>
            </a:solidFill>
            <a:ln w="6350" cap="flat">
              <a:solidFill>
                <a:srgbClr val="4C3B21">
                  <a:alpha val="17000"/>
                </a:srgbClr>
              </a:solidFill>
              <a:prstDash val="solid"/>
              <a:miter lim="800000"/>
            </a:ln>
            <a:effectLst>
              <a:outerShdw blurRad="304800" rotWithShape="0">
                <a:srgbClr val="6B522E">
                  <a:alpha val="28000"/>
                </a:srgbClr>
              </a:outerShdw>
            </a:effectLst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/>
              <a:endParaRPr lang="ru-RU">
                <a:solidFill>
                  <a:srgbClr val="FFFFFF"/>
                </a:solidFill>
                <a:latin typeface="Calibri"/>
              </a:endParaRPr>
            </a:p>
          </p:txBody>
        </p:sp>
        <p:pic>
          <p:nvPicPr>
            <p:cNvPr id="40" name="Рисунок 39">
              <a:extLst>
                <a:ext uri="{FF2B5EF4-FFF2-40B4-BE49-F238E27FC236}">
                  <a16:creationId xmlns="" xmlns:a16="http://schemas.microsoft.com/office/drawing/2014/main" id="{6E5F48A2-5AD7-4709-94C6-2BADB7C8D75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459660" y="794192"/>
              <a:ext cx="719434" cy="719434"/>
            </a:xfrm>
            <a:prstGeom prst="rect">
              <a:avLst/>
            </a:prstGeom>
          </p:spPr>
        </p:pic>
      </p:grpSp>
      <p:grpSp>
        <p:nvGrpSpPr>
          <p:cNvPr id="76" name="Группа 75">
            <a:extLst>
              <a:ext uri="{FF2B5EF4-FFF2-40B4-BE49-F238E27FC236}">
                <a16:creationId xmlns="" xmlns:a16="http://schemas.microsoft.com/office/drawing/2014/main" id="{83E679F5-1D07-41F5-B21A-26F31416688A}"/>
              </a:ext>
            </a:extLst>
          </p:cNvPr>
          <p:cNvGrpSpPr/>
          <p:nvPr/>
        </p:nvGrpSpPr>
        <p:grpSpPr>
          <a:xfrm>
            <a:off x="4763397" y="947852"/>
            <a:ext cx="612832" cy="612832"/>
            <a:chOff x="4734102" y="762443"/>
            <a:chExt cx="782932" cy="782932"/>
          </a:xfrm>
        </p:grpSpPr>
        <p:sp>
          <p:nvSpPr>
            <p:cNvPr id="71" name="Овал 70">
              <a:extLst>
                <a:ext uri="{FF2B5EF4-FFF2-40B4-BE49-F238E27FC236}">
                  <a16:creationId xmlns="" xmlns:a16="http://schemas.microsoft.com/office/drawing/2014/main" id="{78FE3650-3E1D-4C8B-81EA-2ACAC5240A93}"/>
                </a:ext>
              </a:extLst>
            </p:cNvPr>
            <p:cNvSpPr/>
            <p:nvPr/>
          </p:nvSpPr>
          <p:spPr>
            <a:xfrm>
              <a:off x="4734102" y="762443"/>
              <a:ext cx="782932" cy="782932"/>
            </a:xfrm>
            <a:prstGeom prst="ellipse">
              <a:avLst/>
            </a:prstGeom>
            <a:solidFill>
              <a:srgbClr val="FFFFFF"/>
            </a:solidFill>
            <a:ln w="6350" cap="flat">
              <a:solidFill>
                <a:srgbClr val="4C3B21">
                  <a:alpha val="17000"/>
                </a:srgbClr>
              </a:solidFill>
              <a:prstDash val="solid"/>
              <a:miter lim="800000"/>
            </a:ln>
            <a:effectLst>
              <a:outerShdw blurRad="304800" rotWithShape="0">
                <a:srgbClr val="6B522E">
                  <a:alpha val="28000"/>
                </a:srgbClr>
              </a:outerShdw>
            </a:effectLst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/>
              <a:endParaRPr lang="ru-RU">
                <a:solidFill>
                  <a:srgbClr val="FFFFFF"/>
                </a:solidFill>
                <a:latin typeface="Calibri"/>
              </a:endParaRPr>
            </a:p>
          </p:txBody>
        </p:sp>
        <p:pic>
          <p:nvPicPr>
            <p:cNvPr id="41" name="Рисунок 40">
              <a:extLst>
                <a:ext uri="{FF2B5EF4-FFF2-40B4-BE49-F238E27FC236}">
                  <a16:creationId xmlns="" xmlns:a16="http://schemas.microsoft.com/office/drawing/2014/main" id="{5C8C314D-2958-49B4-914B-78DB1A4E105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765851" y="794192"/>
              <a:ext cx="719434" cy="719434"/>
            </a:xfrm>
            <a:prstGeom prst="rect">
              <a:avLst/>
            </a:prstGeom>
          </p:spPr>
        </p:pic>
      </p:grpSp>
      <p:grpSp>
        <p:nvGrpSpPr>
          <p:cNvPr id="75" name="Группа 74">
            <a:extLst>
              <a:ext uri="{FF2B5EF4-FFF2-40B4-BE49-F238E27FC236}">
                <a16:creationId xmlns="" xmlns:a16="http://schemas.microsoft.com/office/drawing/2014/main" id="{FC406CE6-8D14-4773-AEAC-0E2DA91B15EE}"/>
              </a:ext>
            </a:extLst>
          </p:cNvPr>
          <p:cNvGrpSpPr/>
          <p:nvPr/>
        </p:nvGrpSpPr>
        <p:grpSpPr>
          <a:xfrm>
            <a:off x="6937939" y="947852"/>
            <a:ext cx="612832" cy="612832"/>
            <a:chOff x="6864040" y="762443"/>
            <a:chExt cx="782932" cy="782932"/>
          </a:xfrm>
        </p:grpSpPr>
        <p:sp>
          <p:nvSpPr>
            <p:cNvPr id="72" name="Овал 71">
              <a:extLst>
                <a:ext uri="{FF2B5EF4-FFF2-40B4-BE49-F238E27FC236}">
                  <a16:creationId xmlns="" xmlns:a16="http://schemas.microsoft.com/office/drawing/2014/main" id="{2EA03719-C229-4ED2-B7D6-737D3D408475}"/>
                </a:ext>
              </a:extLst>
            </p:cNvPr>
            <p:cNvSpPr/>
            <p:nvPr/>
          </p:nvSpPr>
          <p:spPr>
            <a:xfrm>
              <a:off x="6864040" y="762443"/>
              <a:ext cx="782932" cy="782932"/>
            </a:xfrm>
            <a:prstGeom prst="ellipse">
              <a:avLst/>
            </a:prstGeom>
            <a:solidFill>
              <a:srgbClr val="FFFFFF"/>
            </a:solidFill>
            <a:ln w="6350" cap="flat">
              <a:solidFill>
                <a:srgbClr val="4C3B21">
                  <a:alpha val="17000"/>
                </a:srgbClr>
              </a:solidFill>
              <a:prstDash val="solid"/>
              <a:miter lim="800000"/>
            </a:ln>
            <a:effectLst>
              <a:outerShdw blurRad="304800" rotWithShape="0">
                <a:srgbClr val="6B522E">
                  <a:alpha val="28000"/>
                </a:srgbClr>
              </a:outerShdw>
            </a:effectLst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/>
              <a:endParaRPr lang="ru-RU">
                <a:solidFill>
                  <a:srgbClr val="FFFFFF"/>
                </a:solidFill>
                <a:latin typeface="Calibri"/>
              </a:endParaRPr>
            </a:p>
          </p:txBody>
        </p:sp>
        <p:pic>
          <p:nvPicPr>
            <p:cNvPr id="42" name="Рисунок 41">
              <a:extLst>
                <a:ext uri="{FF2B5EF4-FFF2-40B4-BE49-F238E27FC236}">
                  <a16:creationId xmlns="" xmlns:a16="http://schemas.microsoft.com/office/drawing/2014/main" id="{1A0DA556-81E2-43A4-9951-A21700ABF6E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=""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6895789" y="794192"/>
              <a:ext cx="719434" cy="719434"/>
            </a:xfrm>
            <a:prstGeom prst="rect">
              <a:avLst/>
            </a:prstGeom>
          </p:spPr>
        </p:pic>
      </p:grpSp>
      <p:grpSp>
        <p:nvGrpSpPr>
          <p:cNvPr id="74" name="Группа 73">
            <a:extLst>
              <a:ext uri="{FF2B5EF4-FFF2-40B4-BE49-F238E27FC236}">
                <a16:creationId xmlns="" xmlns:a16="http://schemas.microsoft.com/office/drawing/2014/main" id="{DCBA10C4-141F-410A-8303-1FE6E205045A}"/>
              </a:ext>
            </a:extLst>
          </p:cNvPr>
          <p:cNvGrpSpPr/>
          <p:nvPr/>
        </p:nvGrpSpPr>
        <p:grpSpPr>
          <a:xfrm>
            <a:off x="9182661" y="947852"/>
            <a:ext cx="612832" cy="612832"/>
            <a:chOff x="9097611" y="762443"/>
            <a:chExt cx="782932" cy="782932"/>
          </a:xfrm>
        </p:grpSpPr>
        <p:sp>
          <p:nvSpPr>
            <p:cNvPr id="73" name="Овал 72">
              <a:extLst>
                <a:ext uri="{FF2B5EF4-FFF2-40B4-BE49-F238E27FC236}">
                  <a16:creationId xmlns="" xmlns:a16="http://schemas.microsoft.com/office/drawing/2014/main" id="{137D314F-E3D8-4224-9F9A-7FD10732C34B}"/>
                </a:ext>
              </a:extLst>
            </p:cNvPr>
            <p:cNvSpPr/>
            <p:nvPr/>
          </p:nvSpPr>
          <p:spPr>
            <a:xfrm>
              <a:off x="9097611" y="762443"/>
              <a:ext cx="782932" cy="782932"/>
            </a:xfrm>
            <a:prstGeom prst="ellipse">
              <a:avLst/>
            </a:prstGeom>
            <a:solidFill>
              <a:srgbClr val="FFFFFF"/>
            </a:solidFill>
            <a:ln w="6350" cap="flat">
              <a:solidFill>
                <a:srgbClr val="4C3B21">
                  <a:alpha val="17000"/>
                </a:srgbClr>
              </a:solidFill>
              <a:prstDash val="solid"/>
              <a:miter lim="800000"/>
            </a:ln>
            <a:effectLst>
              <a:outerShdw blurRad="304800" rotWithShape="0">
                <a:srgbClr val="6B522E">
                  <a:alpha val="28000"/>
                </a:srgbClr>
              </a:outerShdw>
            </a:effectLst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/>
              <a:endParaRPr lang="ru-RU">
                <a:solidFill>
                  <a:srgbClr val="FFFFFF"/>
                </a:solidFill>
                <a:latin typeface="Calibri"/>
              </a:endParaRPr>
            </a:p>
          </p:txBody>
        </p:sp>
        <p:pic>
          <p:nvPicPr>
            <p:cNvPr id="43" name="Рисунок 42">
              <a:extLst>
                <a:ext uri="{FF2B5EF4-FFF2-40B4-BE49-F238E27FC236}">
                  <a16:creationId xmlns="" xmlns:a16="http://schemas.microsoft.com/office/drawing/2014/main" id="{73B9B729-CC57-4785-82B6-4FC4CDFC489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=""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9129360" y="794192"/>
              <a:ext cx="719434" cy="719434"/>
            </a:xfrm>
            <a:prstGeom prst="rect">
              <a:avLst/>
            </a:prstGeom>
          </p:spPr>
        </p:pic>
      </p:grpSp>
      <p:grpSp>
        <p:nvGrpSpPr>
          <p:cNvPr id="81" name="Группа 80">
            <a:extLst>
              <a:ext uri="{FF2B5EF4-FFF2-40B4-BE49-F238E27FC236}">
                <a16:creationId xmlns="" xmlns:a16="http://schemas.microsoft.com/office/drawing/2014/main" id="{0118B011-FB2B-436A-9A8F-317EF8772C48}"/>
              </a:ext>
            </a:extLst>
          </p:cNvPr>
          <p:cNvGrpSpPr/>
          <p:nvPr/>
        </p:nvGrpSpPr>
        <p:grpSpPr>
          <a:xfrm>
            <a:off x="4752246" y="3481485"/>
            <a:ext cx="612832" cy="612832"/>
            <a:chOff x="4734102" y="3407586"/>
            <a:chExt cx="782932" cy="782932"/>
          </a:xfrm>
        </p:grpSpPr>
        <p:sp>
          <p:nvSpPr>
            <p:cNvPr id="53" name="Овал 52">
              <a:extLst>
                <a:ext uri="{FF2B5EF4-FFF2-40B4-BE49-F238E27FC236}">
                  <a16:creationId xmlns="" xmlns:a16="http://schemas.microsoft.com/office/drawing/2014/main" id="{BB5CB14B-5D58-4AE9-83E5-78566706CCC1}"/>
                </a:ext>
              </a:extLst>
            </p:cNvPr>
            <p:cNvSpPr/>
            <p:nvPr/>
          </p:nvSpPr>
          <p:spPr>
            <a:xfrm>
              <a:off x="4734102" y="3407586"/>
              <a:ext cx="782932" cy="782932"/>
            </a:xfrm>
            <a:prstGeom prst="ellipse">
              <a:avLst/>
            </a:prstGeom>
            <a:solidFill>
              <a:srgbClr val="FFFFFF"/>
            </a:solidFill>
            <a:ln w="6350" cap="flat">
              <a:solidFill>
                <a:srgbClr val="4C3B21">
                  <a:alpha val="17000"/>
                </a:srgbClr>
              </a:solidFill>
              <a:prstDash val="solid"/>
              <a:miter lim="800000"/>
            </a:ln>
            <a:effectLst>
              <a:outerShdw blurRad="304800" rotWithShape="0">
                <a:srgbClr val="6B522E">
                  <a:alpha val="28000"/>
                </a:srgbClr>
              </a:outerShdw>
            </a:effectLst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/>
              <a:endParaRPr lang="ru-RU">
                <a:solidFill>
                  <a:srgbClr val="FFFFFF"/>
                </a:solidFill>
                <a:latin typeface="Calibri"/>
              </a:endParaRPr>
            </a:p>
          </p:txBody>
        </p:sp>
        <p:pic>
          <p:nvPicPr>
            <p:cNvPr id="46" name="Рисунок 45">
              <a:extLst>
                <a:ext uri="{FF2B5EF4-FFF2-40B4-BE49-F238E27FC236}">
                  <a16:creationId xmlns="" xmlns:a16="http://schemas.microsoft.com/office/drawing/2014/main" id="{F1F33DA6-FF26-4FE3-BD94-F3ADAA7E66A4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=""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4765851" y="3439335"/>
              <a:ext cx="719434" cy="719434"/>
            </a:xfrm>
            <a:prstGeom prst="rect">
              <a:avLst/>
            </a:prstGeom>
          </p:spPr>
        </p:pic>
      </p:grpSp>
      <p:grpSp>
        <p:nvGrpSpPr>
          <p:cNvPr id="82" name="Группа 81">
            <a:extLst>
              <a:ext uri="{FF2B5EF4-FFF2-40B4-BE49-F238E27FC236}">
                <a16:creationId xmlns="" xmlns:a16="http://schemas.microsoft.com/office/drawing/2014/main" id="{9CC7DF9D-9481-403D-AB29-F784306FF86E}"/>
              </a:ext>
            </a:extLst>
          </p:cNvPr>
          <p:cNvGrpSpPr/>
          <p:nvPr/>
        </p:nvGrpSpPr>
        <p:grpSpPr>
          <a:xfrm>
            <a:off x="6915637" y="3481485"/>
            <a:ext cx="612832" cy="612832"/>
            <a:chOff x="6864040" y="3407586"/>
            <a:chExt cx="782932" cy="782932"/>
          </a:xfrm>
        </p:grpSpPr>
        <p:sp>
          <p:nvSpPr>
            <p:cNvPr id="54" name="Овал 53">
              <a:extLst>
                <a:ext uri="{FF2B5EF4-FFF2-40B4-BE49-F238E27FC236}">
                  <a16:creationId xmlns="" xmlns:a16="http://schemas.microsoft.com/office/drawing/2014/main" id="{92EA867D-9BF7-4C96-9DA7-BE023F64A3BA}"/>
                </a:ext>
              </a:extLst>
            </p:cNvPr>
            <p:cNvSpPr/>
            <p:nvPr/>
          </p:nvSpPr>
          <p:spPr>
            <a:xfrm>
              <a:off x="6864040" y="3407586"/>
              <a:ext cx="782932" cy="782932"/>
            </a:xfrm>
            <a:prstGeom prst="ellipse">
              <a:avLst/>
            </a:prstGeom>
            <a:solidFill>
              <a:srgbClr val="FFFFFF"/>
            </a:solidFill>
            <a:ln w="6350" cap="flat">
              <a:solidFill>
                <a:srgbClr val="4C3B21">
                  <a:alpha val="17000"/>
                </a:srgbClr>
              </a:solidFill>
              <a:prstDash val="solid"/>
              <a:miter lim="800000"/>
            </a:ln>
            <a:effectLst>
              <a:outerShdw blurRad="304800" rotWithShape="0">
                <a:srgbClr val="6B522E">
                  <a:alpha val="28000"/>
                </a:srgbClr>
              </a:outerShdw>
            </a:effectLst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/>
              <a:endParaRPr lang="ru-RU">
                <a:solidFill>
                  <a:srgbClr val="FFFFFF"/>
                </a:solidFill>
                <a:latin typeface="Calibri"/>
              </a:endParaRPr>
            </a:p>
          </p:txBody>
        </p:sp>
        <p:pic>
          <p:nvPicPr>
            <p:cNvPr id="47" name="Рисунок 46">
              <a:extLst>
                <a:ext uri="{FF2B5EF4-FFF2-40B4-BE49-F238E27FC236}">
                  <a16:creationId xmlns="" xmlns:a16="http://schemas.microsoft.com/office/drawing/2014/main" id="{2E26908D-010D-457B-AE1A-0A540327FE06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=""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6895789" y="3439335"/>
              <a:ext cx="719434" cy="719434"/>
            </a:xfrm>
            <a:prstGeom prst="rect">
              <a:avLst/>
            </a:prstGeom>
          </p:spPr>
        </p:pic>
      </p:grpSp>
      <p:grpSp>
        <p:nvGrpSpPr>
          <p:cNvPr id="80" name="Группа 79">
            <a:extLst>
              <a:ext uri="{FF2B5EF4-FFF2-40B4-BE49-F238E27FC236}">
                <a16:creationId xmlns="" xmlns:a16="http://schemas.microsoft.com/office/drawing/2014/main" id="{2224C90A-4AF3-41D6-BAC6-BE4A2D841B2B}"/>
              </a:ext>
            </a:extLst>
          </p:cNvPr>
          <p:cNvGrpSpPr/>
          <p:nvPr/>
        </p:nvGrpSpPr>
        <p:grpSpPr>
          <a:xfrm>
            <a:off x="2535263" y="3481485"/>
            <a:ext cx="612832" cy="612832"/>
            <a:chOff x="2427911" y="3407586"/>
            <a:chExt cx="782932" cy="782932"/>
          </a:xfrm>
        </p:grpSpPr>
        <p:sp>
          <p:nvSpPr>
            <p:cNvPr id="52" name="Овал 51">
              <a:extLst>
                <a:ext uri="{FF2B5EF4-FFF2-40B4-BE49-F238E27FC236}">
                  <a16:creationId xmlns="" xmlns:a16="http://schemas.microsoft.com/office/drawing/2014/main" id="{47B5BD34-C3FE-40F8-A39C-5A2E78FA8B7F}"/>
                </a:ext>
              </a:extLst>
            </p:cNvPr>
            <p:cNvSpPr/>
            <p:nvPr/>
          </p:nvSpPr>
          <p:spPr>
            <a:xfrm>
              <a:off x="2427911" y="3407586"/>
              <a:ext cx="782932" cy="782932"/>
            </a:xfrm>
            <a:prstGeom prst="ellipse">
              <a:avLst/>
            </a:prstGeom>
            <a:solidFill>
              <a:srgbClr val="FFFFFF"/>
            </a:solidFill>
            <a:ln w="6350" cap="flat">
              <a:solidFill>
                <a:srgbClr val="4C3B21">
                  <a:alpha val="17000"/>
                </a:srgbClr>
              </a:solidFill>
              <a:prstDash val="solid"/>
              <a:miter lim="800000"/>
            </a:ln>
            <a:effectLst>
              <a:outerShdw blurRad="304800" rotWithShape="0">
                <a:srgbClr val="6B522E">
                  <a:alpha val="28000"/>
                </a:srgbClr>
              </a:outerShdw>
            </a:effectLst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/>
              <a:endParaRPr lang="ru-RU">
                <a:solidFill>
                  <a:srgbClr val="FFFFFF"/>
                </a:solidFill>
                <a:latin typeface="Calibri"/>
              </a:endParaRPr>
            </a:p>
          </p:txBody>
        </p:sp>
        <p:pic>
          <p:nvPicPr>
            <p:cNvPr id="48" name="Рисунок 47">
              <a:extLst>
                <a:ext uri="{FF2B5EF4-FFF2-40B4-BE49-F238E27FC236}">
                  <a16:creationId xmlns="" xmlns:a16="http://schemas.microsoft.com/office/drawing/2014/main" id="{0D2311C8-EB61-430E-A604-421A43C2BABD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=""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2459660" y="3439335"/>
              <a:ext cx="719434" cy="719434"/>
            </a:xfrm>
            <a:prstGeom prst="rect">
              <a:avLst/>
            </a:prstGeom>
          </p:spPr>
        </p:pic>
      </p:grpSp>
      <p:grpSp>
        <p:nvGrpSpPr>
          <p:cNvPr id="83" name="Группа 82">
            <a:extLst>
              <a:ext uri="{FF2B5EF4-FFF2-40B4-BE49-F238E27FC236}">
                <a16:creationId xmlns="" xmlns:a16="http://schemas.microsoft.com/office/drawing/2014/main" id="{2449D870-C3F5-4F36-A991-A07B2830E1FE}"/>
              </a:ext>
            </a:extLst>
          </p:cNvPr>
          <p:cNvGrpSpPr/>
          <p:nvPr/>
        </p:nvGrpSpPr>
        <p:grpSpPr>
          <a:xfrm>
            <a:off x="9182661" y="3481485"/>
            <a:ext cx="612832" cy="612832"/>
            <a:chOff x="9097611" y="3407586"/>
            <a:chExt cx="782932" cy="782932"/>
          </a:xfrm>
        </p:grpSpPr>
        <p:sp>
          <p:nvSpPr>
            <p:cNvPr id="55" name="Овал 54">
              <a:extLst>
                <a:ext uri="{FF2B5EF4-FFF2-40B4-BE49-F238E27FC236}">
                  <a16:creationId xmlns="" xmlns:a16="http://schemas.microsoft.com/office/drawing/2014/main" id="{E0FED982-6C0B-40C9-80DF-173CF9D3D22C}"/>
                </a:ext>
              </a:extLst>
            </p:cNvPr>
            <p:cNvSpPr/>
            <p:nvPr/>
          </p:nvSpPr>
          <p:spPr>
            <a:xfrm>
              <a:off x="9097611" y="3407586"/>
              <a:ext cx="782932" cy="782932"/>
            </a:xfrm>
            <a:prstGeom prst="ellipse">
              <a:avLst/>
            </a:prstGeom>
            <a:solidFill>
              <a:srgbClr val="FFFFFF"/>
            </a:solidFill>
            <a:ln w="6350" cap="flat">
              <a:solidFill>
                <a:srgbClr val="4C3B21">
                  <a:alpha val="17000"/>
                </a:srgbClr>
              </a:solidFill>
              <a:prstDash val="solid"/>
              <a:miter lim="800000"/>
            </a:ln>
            <a:effectLst>
              <a:outerShdw blurRad="304800" rotWithShape="0">
                <a:srgbClr val="6B522E">
                  <a:alpha val="28000"/>
                </a:srgbClr>
              </a:outerShdw>
            </a:effectLst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/>
              <a:endParaRPr lang="ru-RU">
                <a:solidFill>
                  <a:srgbClr val="FFFFFF"/>
                </a:solidFill>
                <a:latin typeface="Calibri"/>
              </a:endParaRPr>
            </a:p>
          </p:txBody>
        </p:sp>
        <p:pic>
          <p:nvPicPr>
            <p:cNvPr id="49" name="Рисунок 48">
              <a:extLst>
                <a:ext uri="{FF2B5EF4-FFF2-40B4-BE49-F238E27FC236}">
                  <a16:creationId xmlns="" xmlns:a16="http://schemas.microsoft.com/office/drawing/2014/main" id="{7D265973-9B70-4ECD-8678-8ABF2B4151A2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96DAC541-7B7A-43D3-8B79-37D633B846F1}">
                  <asvg:svgBlip xmlns=""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9129360" y="3439335"/>
              <a:ext cx="719434" cy="719434"/>
            </a:xfrm>
            <a:prstGeom prst="rect">
              <a:avLst/>
            </a:prstGeom>
          </p:spPr>
        </p:pic>
      </p:grpSp>
      <p:grpSp>
        <p:nvGrpSpPr>
          <p:cNvPr id="79" name="Группа 78">
            <a:extLst>
              <a:ext uri="{FF2B5EF4-FFF2-40B4-BE49-F238E27FC236}">
                <a16:creationId xmlns="" xmlns:a16="http://schemas.microsoft.com/office/drawing/2014/main" id="{FF84C8B0-1C81-4C03-BD46-CF75916163FE}"/>
              </a:ext>
            </a:extLst>
          </p:cNvPr>
          <p:cNvGrpSpPr/>
          <p:nvPr/>
        </p:nvGrpSpPr>
        <p:grpSpPr>
          <a:xfrm>
            <a:off x="309531" y="3481485"/>
            <a:ext cx="612832" cy="612832"/>
            <a:chOff x="224481" y="3407586"/>
            <a:chExt cx="782932" cy="782932"/>
          </a:xfrm>
        </p:grpSpPr>
        <p:sp>
          <p:nvSpPr>
            <p:cNvPr id="51" name="Овал 50">
              <a:extLst>
                <a:ext uri="{FF2B5EF4-FFF2-40B4-BE49-F238E27FC236}">
                  <a16:creationId xmlns="" xmlns:a16="http://schemas.microsoft.com/office/drawing/2014/main" id="{CD2D3FE4-BC1D-4BBC-9DE1-06146BFF08BB}"/>
                </a:ext>
              </a:extLst>
            </p:cNvPr>
            <p:cNvSpPr/>
            <p:nvPr/>
          </p:nvSpPr>
          <p:spPr>
            <a:xfrm>
              <a:off x="224481" y="3407586"/>
              <a:ext cx="782932" cy="782932"/>
            </a:xfrm>
            <a:prstGeom prst="ellipse">
              <a:avLst/>
            </a:prstGeom>
            <a:solidFill>
              <a:srgbClr val="FFFFFF"/>
            </a:solidFill>
            <a:ln w="6350" cap="flat">
              <a:solidFill>
                <a:srgbClr val="4C3B21">
                  <a:alpha val="17000"/>
                </a:srgbClr>
              </a:solidFill>
              <a:prstDash val="solid"/>
              <a:miter lim="800000"/>
            </a:ln>
            <a:effectLst>
              <a:outerShdw blurRad="304800" rotWithShape="0">
                <a:srgbClr val="6B522E">
                  <a:alpha val="28000"/>
                </a:srgbClr>
              </a:outerShdw>
            </a:effectLst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/>
              <a:endParaRPr lang="ru-RU">
                <a:solidFill>
                  <a:srgbClr val="FFFFFF"/>
                </a:solidFill>
                <a:latin typeface="Calibri"/>
              </a:endParaRPr>
            </a:p>
          </p:txBody>
        </p:sp>
        <p:pic>
          <p:nvPicPr>
            <p:cNvPr id="50" name="Рисунок 49">
              <a:extLst>
                <a:ext uri="{FF2B5EF4-FFF2-40B4-BE49-F238E27FC236}">
                  <a16:creationId xmlns="" xmlns:a16="http://schemas.microsoft.com/office/drawing/2014/main" id="{BD42DC50-C1F5-4715-AE87-5409A3888D9C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=""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258231" y="3441336"/>
              <a:ext cx="715433" cy="7154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977419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Тема Office">
  <a:themeElements>
    <a:clrScheme name="Другая 5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C2A171"/>
      </a:accent1>
      <a:accent2>
        <a:srgbClr val="E9DECD"/>
      </a:accent2>
      <a:accent3>
        <a:srgbClr val="48B7B3"/>
      </a:accent3>
      <a:accent4>
        <a:srgbClr val="EC7805"/>
      </a:accent4>
      <a:accent5>
        <a:srgbClr val="FFD415"/>
      </a:accent5>
      <a:accent6>
        <a:srgbClr val="954F72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lIns="91440" tIns="45720" rIns="91440" bIns="45720" rtlCol="0" anchor="b">
        <a:no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Презентация КК 30012019" id="{86731217-4D29-944F-9811-0868E5F9EF1A}" vid="{428CF712-0A34-4741-AEB7-59E9278FFB7C}"/>
    </a:ext>
  </a:extLst>
</a:theme>
</file>

<file path=ppt/theme/theme2.xml><?xml version="1.0" encoding="utf-8"?>
<a:theme xmlns:a="http://schemas.openxmlformats.org/drawingml/2006/main" name="Тема Office">
  <a:themeElements>
    <a:clrScheme name="Другая 5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C2A171"/>
      </a:accent1>
      <a:accent2>
        <a:srgbClr val="E9DECD"/>
      </a:accent2>
      <a:accent3>
        <a:srgbClr val="48B7B3"/>
      </a:accent3>
      <a:accent4>
        <a:srgbClr val="EC7805"/>
      </a:accent4>
      <a:accent5>
        <a:srgbClr val="FFD415"/>
      </a:accent5>
      <a:accent6>
        <a:srgbClr val="954F72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lIns="91440" tIns="45720" rIns="91440" bIns="45720" rtlCol="0" anchor="b">
        <a:no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492</TotalTime>
  <Words>318</Words>
  <Application>Microsoft Macintosh PowerPoint</Application>
  <PresentationFormat>Широкоэкранный</PresentationFormat>
  <Paragraphs>136</Paragraphs>
  <Slides>10</Slides>
  <Notes>8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6" baseType="lpstr">
      <vt:lpstr>Calibri</vt:lpstr>
      <vt:lpstr>Times New Roman</vt:lpstr>
      <vt:lpstr>Arial</vt:lpstr>
      <vt:lpstr>2_Тема Office</vt:lpstr>
      <vt:lpstr>Тема Office</vt:lpstr>
      <vt:lpstr>think-cell Slide</vt:lpstr>
      <vt:lpstr>Презентация PowerPoint</vt:lpstr>
      <vt:lpstr>Конкурсы на предоставление грантов</vt:lpstr>
      <vt:lpstr>Обучающие мероприятия</vt:lpstr>
      <vt:lpstr>Мероприятия для победителей  и участников конкурсов</vt:lpstr>
      <vt:lpstr>Информационная поддержка</vt:lpstr>
      <vt:lpstr>Оценка результатов реализации проектов</vt:lpstr>
      <vt:lpstr>Сроки проведения конкурсов</vt:lpstr>
      <vt:lpstr>Участники конкурса</vt:lpstr>
      <vt:lpstr>Критерии оценки проектов</vt:lpstr>
      <vt:lpstr>Презентация PowerPoint</vt:lpstr>
    </vt:vector>
  </TitlesOfParts>
  <LinksUpToDate>false</LinksUpToDate>
  <SharedDoc>false</SharedDoc>
  <HyperlinksChanged>false</HyperlinksChanged>
  <AppVersion>15.0033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Внешняя оценка результатов  реализации проектов</dc:title>
  <dc:creator>Илья Панкратов</dc:creator>
  <cp:lastModifiedBy>Наталья Алиева</cp:lastModifiedBy>
  <cp:revision>85</cp:revision>
  <dcterms:created xsi:type="dcterms:W3CDTF">2020-06-05T18:08:15Z</dcterms:created>
  <dcterms:modified xsi:type="dcterms:W3CDTF">2020-11-25T19:23:04Z</dcterms:modified>
</cp:coreProperties>
</file>